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34"/>
  </p:notesMasterIdLst>
  <p:sldIdLst>
    <p:sldId id="256" r:id="rId2"/>
    <p:sldId id="257" r:id="rId3"/>
    <p:sldId id="403" r:id="rId4"/>
    <p:sldId id="404" r:id="rId5"/>
    <p:sldId id="280" r:id="rId6"/>
    <p:sldId id="421" r:id="rId7"/>
    <p:sldId id="430" r:id="rId8"/>
    <p:sldId id="412" r:id="rId9"/>
    <p:sldId id="519" r:id="rId10"/>
    <p:sldId id="520" r:id="rId11"/>
    <p:sldId id="521" r:id="rId12"/>
    <p:sldId id="522" r:id="rId13"/>
    <p:sldId id="523" r:id="rId14"/>
    <p:sldId id="517" r:id="rId15"/>
    <p:sldId id="505" r:id="rId16"/>
    <p:sldId id="524" r:id="rId17"/>
    <p:sldId id="525" r:id="rId18"/>
    <p:sldId id="526" r:id="rId19"/>
    <p:sldId id="527" r:id="rId20"/>
    <p:sldId id="528" r:id="rId21"/>
    <p:sldId id="518" r:id="rId22"/>
    <p:sldId id="413" r:id="rId23"/>
    <p:sldId id="529" r:id="rId24"/>
    <p:sldId id="530" r:id="rId25"/>
    <p:sldId id="531" r:id="rId26"/>
    <p:sldId id="533" r:id="rId27"/>
    <p:sldId id="532" r:id="rId28"/>
    <p:sldId id="380" r:id="rId29"/>
    <p:sldId id="422" r:id="rId30"/>
    <p:sldId id="512" r:id="rId31"/>
    <p:sldId id="382" r:id="rId32"/>
    <p:sldId id="274" r:id="rId3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2800"/>
    <a:srgbClr val="5091CF"/>
    <a:srgbClr val="BFBFBF"/>
    <a:srgbClr val="FFD966"/>
    <a:srgbClr val="FFC000"/>
    <a:srgbClr val="0052FF"/>
    <a:srgbClr val="FF4C41"/>
    <a:srgbClr val="92D050"/>
    <a:srgbClr val="D7E4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8329"/>
    <p:restoredTop sz="85928"/>
  </p:normalViewPr>
  <p:slideViewPr>
    <p:cSldViewPr snapToGrid="0" snapToObjects="1">
      <p:cViewPr>
        <p:scale>
          <a:sx n="110" d="100"/>
          <a:sy n="110" d="100"/>
        </p:scale>
        <p:origin x="856" y="17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 showGuides="1">
      <p:cViewPr varScale="1">
        <p:scale>
          <a:sx n="77" d="100"/>
          <a:sy n="77" d="100"/>
        </p:scale>
        <p:origin x="2592" y="20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2C0594-FB91-6549-B734-125DEC4832D9}" type="datetimeFigureOut">
              <a:rPr lang="en-US" smtClean="0"/>
              <a:t>6/7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CD52EB-6373-8342-9112-3E6FB62238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47730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CD52EB-6373-8342-9112-3E6FB62238F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8205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CD52EB-6373-8342-9112-3E6FB62238F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46228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98475" y="903288"/>
            <a:ext cx="5813425" cy="32702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CH"/>
              <a:t>Seite </a:t>
            </a:r>
            <a:fld id="{BD175881-983A-4DD9-A31C-16EEE17A7366}" type="slidenum">
              <a:rPr lang="de-CH" smtClean="0"/>
              <a:pPr>
                <a:defRPr/>
              </a:pPr>
              <a:t>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CH"/>
              <a:t>AWK Group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42901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CD52EB-6373-8342-9112-3E6FB62238F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5377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CD52EB-6373-8342-9112-3E6FB62238FA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6343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CD52EB-6373-8342-9112-3E6FB62238FA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11233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CD52EB-6373-8342-9112-3E6FB62238FA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18926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CD52EB-6373-8342-9112-3E6FB62238FA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1992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754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552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03586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18399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261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12650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74175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25416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5570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11212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09027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05304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23. Mai 2019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1246" y="6356350"/>
            <a:ext cx="64095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innolab smart mobility - Marius Schmidt | Andi Kronawitter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00754" y="6356350"/>
            <a:ext cx="205304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422B48-A01B-014E-891E-B9F4D62A9E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293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Malgun Gothic" charset="-127"/>
          <a:ea typeface="Malgun Gothic" charset="-127"/>
          <a:cs typeface="Malgun Gothic" charset="-127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Malgun Gothic" charset="-127"/>
          <a:ea typeface="Malgun Gothic" charset="-127"/>
          <a:cs typeface="Malgun Gothic" charset="-127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Malgun Gothic" charset="-127"/>
          <a:ea typeface="Malgun Gothic" charset="-127"/>
          <a:cs typeface="Malgun Gothic" charset="-127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Malgun Gothic" charset="-127"/>
          <a:ea typeface="Malgun Gothic" charset="-127"/>
          <a:cs typeface="Malgun Gothic" charset="-127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Malgun Gothic" charset="-127"/>
          <a:ea typeface="Malgun Gothic" charset="-127"/>
          <a:cs typeface="Malgun Gothic" charset="-127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Malgun Gothic" charset="-127"/>
          <a:ea typeface="Malgun Gothic" charset="-127"/>
          <a:cs typeface="Malgun Gothic" charset="-127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jpeg"/><Relationship Id="rId3" Type="http://schemas.openxmlformats.org/officeDocument/2006/relationships/image" Target="../media/image1.jpeg"/><Relationship Id="rId7" Type="http://schemas.openxmlformats.org/officeDocument/2006/relationships/image" Target="../media/image5.tiff"/><Relationship Id="rId12" Type="http://schemas.openxmlformats.org/officeDocument/2006/relationships/image" Target="../media/image10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tiff"/><Relationship Id="rId11" Type="http://schemas.openxmlformats.org/officeDocument/2006/relationships/image" Target="../media/image9.tiff"/><Relationship Id="rId5" Type="http://schemas.openxmlformats.org/officeDocument/2006/relationships/image" Target="../media/image3.tiff"/><Relationship Id="rId15" Type="http://schemas.openxmlformats.org/officeDocument/2006/relationships/image" Target="../media/image13.png"/><Relationship Id="rId10" Type="http://schemas.openxmlformats.org/officeDocument/2006/relationships/image" Target="../media/image8.tiff"/><Relationship Id="rId4" Type="http://schemas.openxmlformats.org/officeDocument/2006/relationships/image" Target="../media/image2.tiff"/><Relationship Id="rId9" Type="http://schemas.openxmlformats.org/officeDocument/2006/relationships/image" Target="../media/image7.png"/><Relationship Id="rId1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MaaS%20Meetup%2020190523-Teil-2.pptx" TargetMode="Externa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://innolab-smart-mobility.ch/mobilitaets-meetups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jpeg"/><Relationship Id="rId3" Type="http://schemas.openxmlformats.org/officeDocument/2006/relationships/image" Target="../media/image41.tiff"/><Relationship Id="rId7" Type="http://schemas.openxmlformats.org/officeDocument/2006/relationships/image" Target="../media/image45.tiff"/><Relationship Id="rId12" Type="http://schemas.openxmlformats.org/officeDocument/2006/relationships/image" Target="../media/image50.tif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4.tiff"/><Relationship Id="rId11" Type="http://schemas.openxmlformats.org/officeDocument/2006/relationships/image" Target="../media/image49.tiff"/><Relationship Id="rId5" Type="http://schemas.openxmlformats.org/officeDocument/2006/relationships/image" Target="../media/image43.tiff"/><Relationship Id="rId15" Type="http://schemas.openxmlformats.org/officeDocument/2006/relationships/image" Target="../media/image53.png"/><Relationship Id="rId10" Type="http://schemas.openxmlformats.org/officeDocument/2006/relationships/image" Target="../media/image48.tiff"/><Relationship Id="rId4" Type="http://schemas.openxmlformats.org/officeDocument/2006/relationships/image" Target="../media/image42.jpeg"/><Relationship Id="rId9" Type="http://schemas.openxmlformats.org/officeDocument/2006/relationships/image" Target="../media/image47.png"/><Relationship Id="rId14" Type="http://schemas.openxmlformats.org/officeDocument/2006/relationships/image" Target="../media/image5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tags" Target="../tags/tag6.xml"/><Relationship Id="rId7" Type="http://schemas.openxmlformats.org/officeDocument/2006/relationships/image" Target="../media/image15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19.jp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8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7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MaaS%20Meetup%2020190523_Teil-1.pptx" TargetMode="Externa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A3068-BC1D-4445-8286-389DB78037C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49C30730-D41F-9446-BCF9-99612624F42E}"/>
              </a:ext>
            </a:extLst>
          </p:cNvPr>
          <p:cNvSpPr/>
          <p:nvPr/>
        </p:nvSpPr>
        <p:spPr>
          <a:xfrm>
            <a:off x="0" y="6456319"/>
            <a:ext cx="12192000" cy="40168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298332" y="31000"/>
            <a:ext cx="6893668" cy="1070087"/>
          </a:xfrm>
        </p:spPr>
        <p:txBody>
          <a:bodyPr>
            <a:noAutofit/>
          </a:bodyPr>
          <a:lstStyle/>
          <a:p>
            <a:r>
              <a:rPr lang="en-US" sz="4800" dirty="0" err="1">
                <a:solidFill>
                  <a:srgbClr val="5091CF"/>
                </a:solidFill>
                <a:latin typeface="Malgun Gothic" charset="-127"/>
                <a:ea typeface="Malgun Gothic" charset="-127"/>
                <a:cs typeface="Malgun Gothic" charset="-127"/>
              </a:rPr>
              <a:t>innolab</a:t>
            </a:r>
            <a:r>
              <a:rPr lang="en-US" sz="4800" dirty="0">
                <a:solidFill>
                  <a:srgbClr val="5091CF"/>
                </a:solidFill>
                <a:latin typeface="Malgun Gothic" charset="-127"/>
                <a:ea typeface="Malgun Gothic" charset="-127"/>
                <a:cs typeface="Malgun Gothic" charset="-127"/>
              </a:rPr>
              <a:t> smart mobility</a:t>
            </a:r>
            <a:br>
              <a:rPr lang="en-US" sz="4800" dirty="0">
                <a:solidFill>
                  <a:srgbClr val="0070C0"/>
                </a:solidFill>
              </a:rPr>
            </a:br>
            <a:r>
              <a:rPr lang="de-CH" sz="2000" dirty="0">
                <a:solidFill>
                  <a:schemeClr val="bg1"/>
                </a:solidFill>
              </a:rPr>
              <a:t>Gemeinsam entwickeln wir die Mobilität der Schweiz</a:t>
            </a:r>
            <a:endParaRPr lang="en-US" sz="4800" dirty="0">
              <a:solidFill>
                <a:schemeClr val="bg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61796" y="4946465"/>
            <a:ext cx="6479568" cy="956451"/>
          </a:xfrm>
        </p:spPr>
        <p:txBody>
          <a:bodyPr>
            <a:normAutofit fontScale="77500" lnSpcReduction="20000"/>
          </a:bodyPr>
          <a:lstStyle/>
          <a:p>
            <a:r>
              <a:rPr lang="de-CH" b="1" dirty="0">
                <a:solidFill>
                  <a:schemeClr val="bg1"/>
                </a:solidFill>
              </a:rPr>
              <a:t>17. </a:t>
            </a:r>
            <a:r>
              <a:rPr lang="de-CH" b="1" dirty="0" err="1">
                <a:solidFill>
                  <a:schemeClr val="bg1"/>
                </a:solidFill>
              </a:rPr>
              <a:t>Mobilitäts</a:t>
            </a:r>
            <a:r>
              <a:rPr lang="de-CH" b="1" dirty="0">
                <a:solidFill>
                  <a:schemeClr val="bg1"/>
                </a:solidFill>
              </a:rPr>
              <a:t> </a:t>
            </a:r>
            <a:r>
              <a:rPr lang="de-CH" b="1" dirty="0" err="1">
                <a:solidFill>
                  <a:schemeClr val="bg1"/>
                </a:solidFill>
              </a:rPr>
              <a:t>Meetup</a:t>
            </a:r>
            <a:r>
              <a:rPr lang="de-CH" b="1" dirty="0">
                <a:solidFill>
                  <a:schemeClr val="bg1"/>
                </a:solidFill>
              </a:rPr>
              <a:t> </a:t>
            </a:r>
          </a:p>
          <a:p>
            <a:r>
              <a:rPr lang="en-US" b="1" dirty="0">
                <a:solidFill>
                  <a:schemeClr val="bg1"/>
                </a:solidFill>
              </a:rPr>
              <a:t>23. Mai 2019</a:t>
            </a:r>
          </a:p>
          <a:p>
            <a:r>
              <a:rPr lang="en-US" b="1" dirty="0">
                <a:solidFill>
                  <a:schemeClr val="bg1"/>
                </a:solidFill>
              </a:rPr>
              <a:t>Marius Schmidt </a:t>
            </a:r>
            <a:r>
              <a:rPr lang="en-US" dirty="0">
                <a:solidFill>
                  <a:schemeClr val="bg1"/>
                </a:solidFill>
              </a:rPr>
              <a:t>| Andi Kronawitter</a:t>
            </a:r>
            <a:endParaRPr lang="de-CH" dirty="0">
              <a:solidFill>
                <a:schemeClr val="bg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7F6DDF-CFD9-454C-925C-0E2FFDA347A5}"/>
              </a:ext>
            </a:extLst>
          </p:cNvPr>
          <p:cNvSpPr txBox="1">
            <a:spLocks/>
          </p:cNvSpPr>
          <p:nvPr/>
        </p:nvSpPr>
        <p:spPr>
          <a:xfrm>
            <a:off x="829746" y="3057526"/>
            <a:ext cx="10515600" cy="133553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Malgun Gothic" charset="-127"/>
                <a:ea typeface="Malgun Gothic" charset="-127"/>
                <a:cs typeface="Malgun Gothic" charset="-127"/>
              </a:defRPr>
            </a:lvl1pPr>
          </a:lstStyle>
          <a:p>
            <a:r>
              <a:rPr lang="de-CH" sz="5400" dirty="0" err="1">
                <a:solidFill>
                  <a:schemeClr val="bg1"/>
                </a:solidFill>
              </a:rPr>
              <a:t>Beyond</a:t>
            </a:r>
            <a:r>
              <a:rPr lang="de-CH" sz="5400" dirty="0">
                <a:solidFill>
                  <a:schemeClr val="bg1"/>
                </a:solidFill>
              </a:rPr>
              <a:t> </a:t>
            </a:r>
            <a:r>
              <a:rPr lang="de-CH" sz="5400" dirty="0" err="1">
                <a:solidFill>
                  <a:schemeClr val="bg1"/>
                </a:solidFill>
              </a:rPr>
              <a:t>MaaS</a:t>
            </a:r>
            <a:endParaRPr lang="en-US" sz="5400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9CD2FA2-83C7-B64D-9120-B737DCF7436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6943" y="6487721"/>
            <a:ext cx="447776" cy="3403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F54C9CE-3765-F642-8E6A-C6F7A78C7C2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364" y="6488003"/>
            <a:ext cx="846565" cy="34005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FBA1A6A-2604-4540-A99A-233421B171C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922" y="6487315"/>
            <a:ext cx="783908" cy="34562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46779DE-2AC7-8647-8C5E-42EC2B97F1E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0723" y="6487315"/>
            <a:ext cx="340112" cy="34011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34BB77E-D52A-174A-9CB1-0339310A8830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86980" y="6563740"/>
            <a:ext cx="1094060" cy="21717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3F9B9B2-B4C4-7849-9A85-23392445BC3E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6404" y="6484884"/>
            <a:ext cx="1539521" cy="34211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1596A71-E9B7-0F47-ADDD-6FB89ECB6C39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1229" y="6573256"/>
            <a:ext cx="975012" cy="16823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3B8D36A-09BA-4E4F-89F2-EE278740C35E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2123" y="6584427"/>
            <a:ext cx="1159112" cy="15705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3127DA2-FA8D-7245-8732-9D57D651B6AD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15569" y="6487315"/>
            <a:ext cx="827606" cy="34582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0C9C332-B1CA-E94D-AF71-4D47EE5CB9FD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3733" y="6487315"/>
            <a:ext cx="812736" cy="34011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BDE3084-542A-D047-93DF-4ECA99598C54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90997" y="6478212"/>
            <a:ext cx="557582" cy="355459"/>
          </a:xfrm>
          <a:prstGeom prst="rect">
            <a:avLst/>
          </a:prstGeom>
        </p:spPr>
      </p:pic>
      <p:pic>
        <p:nvPicPr>
          <p:cNvPr id="18" name="Picture 2" descr="Bildergebnis für logo netcetera">
            <a:extLst>
              <a:ext uri="{FF2B5EF4-FFF2-40B4-BE49-F238E27FC236}">
                <a16:creationId xmlns:a16="http://schemas.microsoft.com/office/drawing/2014/main" id="{4A93B226-C773-1B4B-BABD-C18D4CDF555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674584" y="6584427"/>
            <a:ext cx="1378643" cy="193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03013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15648E7-03C0-0E46-97E2-B6BD9F0F39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423C459-6979-9B4E-A519-9E51E219E2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1A4EB2-2F93-8B40-9C52-967B11EDA8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10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BC77198-1D3B-3E47-98DA-4082FFFA48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 descr="A close up of a map&#10;&#10;Description automatically generated">
            <a:extLst>
              <a:ext uri="{FF2B5EF4-FFF2-40B4-BE49-F238E27FC236}">
                <a16:creationId xmlns:a16="http://schemas.microsoft.com/office/drawing/2014/main" id="{EFBC782A-5155-5346-B282-53F1FB1449C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9524"/>
          <a:stretch/>
        </p:blipFill>
        <p:spPr>
          <a:xfrm>
            <a:off x="3571352" y="-42610"/>
            <a:ext cx="5729402" cy="626243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7DFE7D8-A1D7-7246-83F2-838B7846DBAD}"/>
              </a:ext>
            </a:extLst>
          </p:cNvPr>
          <p:cNvSpPr txBox="1"/>
          <p:nvPr/>
        </p:nvSpPr>
        <p:spPr>
          <a:xfrm>
            <a:off x="718457" y="718457"/>
            <a:ext cx="1069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B</a:t>
            </a:r>
          </a:p>
        </p:txBody>
      </p:sp>
    </p:spTree>
    <p:extLst>
      <p:ext uri="{BB962C8B-B14F-4D97-AF65-F5344CB8AC3E}">
        <p14:creationId xmlns:p14="http://schemas.microsoft.com/office/powerpoint/2010/main" val="12511011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8DBC9DD-A846-524D-9C29-260ABDA4D3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2194AF-AB2D-2F40-B274-48B90D01C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F07DB8-AC10-9745-AA24-7305160DD7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11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BD48101-D691-9A47-B99A-BC1B4A859A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 descr="A close up of a map&#10;&#10;Description automatically generated">
            <a:extLst>
              <a:ext uri="{FF2B5EF4-FFF2-40B4-BE49-F238E27FC236}">
                <a16:creationId xmlns:a16="http://schemas.microsoft.com/office/drawing/2014/main" id="{F8D0FA9F-8E43-5342-A31B-29840D73205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91" b="10548"/>
          <a:stretch/>
        </p:blipFill>
        <p:spPr>
          <a:xfrm>
            <a:off x="3417096" y="0"/>
            <a:ext cx="5883658" cy="639338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D0BBBAF-78EB-4548-A7FE-FD2EE7E831F4}"/>
              </a:ext>
            </a:extLst>
          </p:cNvPr>
          <p:cNvSpPr txBox="1"/>
          <p:nvPr/>
        </p:nvSpPr>
        <p:spPr>
          <a:xfrm>
            <a:off x="718457" y="718457"/>
            <a:ext cx="10679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C</a:t>
            </a:r>
          </a:p>
        </p:txBody>
      </p:sp>
    </p:spTree>
    <p:extLst>
      <p:ext uri="{BB962C8B-B14F-4D97-AF65-F5344CB8AC3E}">
        <p14:creationId xmlns:p14="http://schemas.microsoft.com/office/powerpoint/2010/main" val="32640820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FB2AA1-5A5C-7D49-98A6-D0E61C76E3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4C794-C12E-F44C-A17B-877ADFFC62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951EE9-08A0-7642-A73C-7EEAF87E94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12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A021FA8-E4D2-024E-BD73-F17C82851C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 descr="A picture containing text, covered, map, paper&#10;&#10;Description automatically generated">
            <a:extLst>
              <a:ext uri="{FF2B5EF4-FFF2-40B4-BE49-F238E27FC236}">
                <a16:creationId xmlns:a16="http://schemas.microsoft.com/office/drawing/2014/main" id="{7BEF793A-D5AE-2E40-8B1D-B9674BEA137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205" b="17637"/>
          <a:stretch/>
        </p:blipFill>
        <p:spPr>
          <a:xfrm>
            <a:off x="3035704" y="0"/>
            <a:ext cx="6353519" cy="635635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FDBF41F-9ED9-9D42-8F58-4A43A6D17D95}"/>
              </a:ext>
            </a:extLst>
          </p:cNvPr>
          <p:cNvSpPr txBox="1"/>
          <p:nvPr/>
        </p:nvSpPr>
        <p:spPr>
          <a:xfrm>
            <a:off x="718457" y="718457"/>
            <a:ext cx="10871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D</a:t>
            </a:r>
          </a:p>
        </p:txBody>
      </p:sp>
    </p:spTree>
    <p:extLst>
      <p:ext uri="{BB962C8B-B14F-4D97-AF65-F5344CB8AC3E}">
        <p14:creationId xmlns:p14="http://schemas.microsoft.com/office/powerpoint/2010/main" val="38814454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7D0907-520B-DE45-AAC5-CDF642F629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91DAAAD-D216-BC4A-8698-C1DAB72275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305CFF-4844-5A4D-A0EA-1916A2F74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13</a:t>
            </a:fld>
            <a:endParaRPr lang="en-US"/>
          </a:p>
        </p:txBody>
      </p:sp>
      <p:pic>
        <p:nvPicPr>
          <p:cNvPr id="6" name="Picture 5" descr="A close up of a map&#10;&#10;Description automatically generated">
            <a:extLst>
              <a:ext uri="{FF2B5EF4-FFF2-40B4-BE49-F238E27FC236}">
                <a16:creationId xmlns:a16="http://schemas.microsoft.com/office/drawing/2014/main" id="{0577BFAB-CC00-2C4F-A0C7-D7A924B096D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40" t="6751" r="5877" b="11055"/>
          <a:stretch/>
        </p:blipFill>
        <p:spPr>
          <a:xfrm>
            <a:off x="3310358" y="56838"/>
            <a:ext cx="5990396" cy="636969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E1F74EC-1AD6-9F41-9F13-6CDF33B51598}"/>
              </a:ext>
            </a:extLst>
          </p:cNvPr>
          <p:cNvSpPr txBox="1"/>
          <p:nvPr/>
        </p:nvSpPr>
        <p:spPr>
          <a:xfrm>
            <a:off x="718457" y="718457"/>
            <a:ext cx="1056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E</a:t>
            </a:r>
          </a:p>
        </p:txBody>
      </p:sp>
    </p:spTree>
    <p:extLst>
      <p:ext uri="{BB962C8B-B14F-4D97-AF65-F5344CB8AC3E}">
        <p14:creationId xmlns:p14="http://schemas.microsoft.com/office/powerpoint/2010/main" val="9879052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0016AF-D2AE-3F4A-918B-98B43A48B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latin typeface="Bradley Hand" pitchFamily="2" charset="77"/>
                <a:hlinkClick r:id="rId2"/>
              </a:rPr>
              <a:t>Die </a:t>
            </a:r>
            <a:r>
              <a:rPr lang="en-US" dirty="0" err="1">
                <a:latin typeface="Bradley Hand" pitchFamily="2" charset="77"/>
                <a:hlinkClick r:id="rId2"/>
              </a:rPr>
              <a:t>Idee</a:t>
            </a:r>
            <a:r>
              <a:rPr lang="en-US" dirty="0">
                <a:latin typeface="Bradley Hand" pitchFamily="2" charset="77"/>
                <a:hlinkClick r:id="rId2"/>
              </a:rPr>
              <a:t> hinter </a:t>
            </a:r>
            <a:r>
              <a:rPr lang="en-US" dirty="0" err="1">
                <a:latin typeface="Bradley Hand" pitchFamily="2" charset="77"/>
                <a:hlinkClick r:id="rId2"/>
              </a:rPr>
              <a:t>MobiCo</a:t>
            </a:r>
            <a:endParaRPr lang="en-US" dirty="0">
              <a:latin typeface="Bradley Hand" pitchFamily="2" charset="77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E33F24-780A-0F46-9C8A-DF73AAB40D9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r>
              <a:rPr lang="en-US" dirty="0" err="1">
                <a:solidFill>
                  <a:schemeClr val="tx1"/>
                </a:solidFill>
                <a:latin typeface="Chalkduster" panose="03050602040202020205" pitchFamily="66" charset="77"/>
              </a:rPr>
              <a:t>Wer</a:t>
            </a:r>
            <a:r>
              <a:rPr lang="en-US" dirty="0">
                <a:solidFill>
                  <a:schemeClr val="tx1"/>
                </a:solidFill>
                <a:latin typeface="Chalkduster" panose="03050602040202020205" pitchFamily="66" charset="77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Chalkduster" panose="03050602040202020205" pitchFamily="66" charset="77"/>
              </a:rPr>
              <a:t>braucht</a:t>
            </a:r>
            <a:r>
              <a:rPr lang="en-US" dirty="0">
                <a:solidFill>
                  <a:schemeClr val="tx1"/>
                </a:solidFill>
                <a:latin typeface="Chalkduster" panose="03050602040202020205" pitchFamily="66" charset="77"/>
              </a:rPr>
              <a:t> das und </a:t>
            </a:r>
            <a:r>
              <a:rPr lang="en-US" dirty="0" err="1">
                <a:solidFill>
                  <a:schemeClr val="tx1"/>
                </a:solidFill>
                <a:latin typeface="Chalkduster" panose="03050602040202020205" pitchFamily="66" charset="77"/>
              </a:rPr>
              <a:t>warum</a:t>
            </a:r>
            <a:r>
              <a:rPr lang="en-US" dirty="0">
                <a:solidFill>
                  <a:schemeClr val="tx1"/>
                </a:solidFill>
                <a:latin typeface="Chalkduster" panose="03050602040202020205" pitchFamily="66" charset="77"/>
              </a:rPr>
              <a:t>?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862EA4-66FD-4A45-9523-74D54A1331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3. Mai 2019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897702-9AAA-5E4D-A4CB-2AFC78E1C7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nolab smart mobility - Marius Schmidt | Andi Kronawit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8255FE-E4B1-8A44-944E-99A9F0E35F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422B48-A01B-014E-891E-B9F4D62A9E6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284828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139345-1F0B-5846-A7BE-6EA96F8BBD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err="1"/>
              <a:t>Runde</a:t>
            </a:r>
            <a:r>
              <a:rPr lang="en-US" sz="3600" dirty="0"/>
              <a:t> 2: </a:t>
            </a:r>
            <a:br>
              <a:rPr lang="en-US" sz="3600" dirty="0"/>
            </a:br>
            <a:r>
              <a:rPr lang="en-US" sz="3600" dirty="0" err="1"/>
              <a:t>Traumwelt</a:t>
            </a:r>
            <a:r>
              <a:rPr lang="en-US" sz="3600" dirty="0"/>
              <a:t>: </a:t>
            </a:r>
            <a:r>
              <a:rPr lang="en-US" sz="3600" dirty="0" err="1"/>
              <a:t>unser</a:t>
            </a:r>
            <a:r>
              <a:rPr lang="en-US" sz="3600" dirty="0"/>
              <a:t> </a:t>
            </a:r>
            <a:r>
              <a:rPr lang="en-US" sz="3600" dirty="0" err="1"/>
              <a:t>Alltag</a:t>
            </a:r>
            <a:r>
              <a:rPr lang="en-US" sz="3600" dirty="0"/>
              <a:t> in der </a:t>
            </a:r>
            <a:r>
              <a:rPr lang="en-US" sz="3600" dirty="0" err="1"/>
              <a:t>Zukunft</a:t>
            </a:r>
            <a:endParaRPr lang="en-US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013769-8D30-9141-BB0B-E624CF181A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5 Gruppen</a:t>
            </a:r>
          </a:p>
          <a:p>
            <a:endParaRPr lang="en-US" dirty="0"/>
          </a:p>
          <a:p>
            <a:r>
              <a:rPr lang="en-US" dirty="0"/>
              <a:t>Collage </a:t>
            </a:r>
            <a:r>
              <a:rPr lang="en-US" dirty="0" err="1"/>
              <a:t>mit</a:t>
            </a:r>
            <a:r>
              <a:rPr lang="en-US" dirty="0"/>
              <a:t> </a:t>
            </a:r>
            <a:r>
              <a:rPr lang="en-US" dirty="0" err="1"/>
              <a:t>allem</a:t>
            </a:r>
            <a:r>
              <a:rPr lang="en-US" dirty="0"/>
              <a:t> auf grosses Papier</a:t>
            </a:r>
          </a:p>
          <a:p>
            <a:r>
              <a:rPr lang="en-US" dirty="0" err="1"/>
              <a:t>Aufschreiben</a:t>
            </a:r>
            <a:r>
              <a:rPr lang="en-US" dirty="0"/>
              <a:t>: was </a:t>
            </a:r>
            <a:r>
              <a:rPr lang="en-US" dirty="0" err="1"/>
              <a:t>ist</a:t>
            </a:r>
            <a:r>
              <a:rPr lang="en-US" dirty="0"/>
              <a:t> am </a:t>
            </a:r>
            <a:r>
              <a:rPr lang="en-US" dirty="0" err="1"/>
              <a:t>wichtigsten</a:t>
            </a:r>
            <a:r>
              <a:rPr lang="en-US" dirty="0"/>
              <a:t>?</a:t>
            </a:r>
          </a:p>
          <a:p>
            <a:endParaRPr lang="en-US" dirty="0"/>
          </a:p>
          <a:p>
            <a:r>
              <a:rPr lang="en-US" dirty="0"/>
              <a:t>30 mi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E93BCB-1C23-5443-96AF-95AE4E74E3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5E350B-E63E-834D-AC64-2EB578685B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B1B34A-55F4-6A44-A376-F1C90F4A76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15</a:t>
            </a:fld>
            <a:endParaRPr lang="en-US"/>
          </a:p>
        </p:txBody>
      </p:sp>
      <p:pic>
        <p:nvPicPr>
          <p:cNvPr id="23558" name="Picture 6" descr="Bildergebnis für brainstorming">
            <a:extLst>
              <a:ext uri="{FF2B5EF4-FFF2-40B4-BE49-F238E27FC236}">
                <a16:creationId xmlns:a16="http://schemas.microsoft.com/office/drawing/2014/main" id="{F2D57EA4-B3D8-EE4A-91E4-6E40B095FA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1761" y="2256598"/>
            <a:ext cx="4292520" cy="2866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71272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68FAB8-BFDB-2B46-889E-6B06B02573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B1CAB3-E608-F64E-8288-F2C138BD19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7187D2-B442-CF41-9D9A-405CF5DCAA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16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1852614-B1A0-7743-8C5A-F0D8B233F6B4}"/>
              </a:ext>
            </a:extLst>
          </p:cNvPr>
          <p:cNvSpPr txBox="1"/>
          <p:nvPr/>
        </p:nvSpPr>
        <p:spPr>
          <a:xfrm>
            <a:off x="718457" y="718457"/>
            <a:ext cx="10775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A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62F2F13-8459-2642-A503-100C01297B8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7806"/>
          <a:stretch/>
        </p:blipFill>
        <p:spPr>
          <a:xfrm>
            <a:off x="2743200" y="0"/>
            <a:ext cx="6032938" cy="6344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82043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lose up of a map&#10;&#10;Description automatically generated">
            <a:extLst>
              <a:ext uri="{FF2B5EF4-FFF2-40B4-BE49-F238E27FC236}">
                <a16:creationId xmlns:a16="http://schemas.microsoft.com/office/drawing/2014/main" id="{4EC4E6B4-4C31-6843-AA05-07ADD897837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220" b="4472"/>
          <a:stretch/>
        </p:blipFill>
        <p:spPr>
          <a:xfrm>
            <a:off x="3252487" y="0"/>
            <a:ext cx="5840242" cy="6665763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A07897-2F96-1C4C-B20C-7C685C2424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BAAA0C-A5BD-8D4C-8F66-6D3EDDF225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0C4DA9-4E4B-7542-BB26-1F9412BBE0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17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063E8D7-1923-144B-8258-A6430B7D9286}"/>
              </a:ext>
            </a:extLst>
          </p:cNvPr>
          <p:cNvSpPr txBox="1"/>
          <p:nvPr/>
        </p:nvSpPr>
        <p:spPr>
          <a:xfrm>
            <a:off x="718457" y="718457"/>
            <a:ext cx="1069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B</a:t>
            </a:r>
          </a:p>
        </p:txBody>
      </p:sp>
    </p:spTree>
    <p:extLst>
      <p:ext uri="{BB962C8B-B14F-4D97-AF65-F5344CB8AC3E}">
        <p14:creationId xmlns:p14="http://schemas.microsoft.com/office/powerpoint/2010/main" val="6509653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AC7842-849C-9246-8142-8E539B95AC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9BECCC-C51E-4C42-9566-95E58A9814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475CE5-5E83-BF49-9066-F443E03E7E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18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843C6BA-0B9C-CD4D-974D-D5C98ABDF944}"/>
              </a:ext>
            </a:extLst>
          </p:cNvPr>
          <p:cNvSpPr txBox="1"/>
          <p:nvPr/>
        </p:nvSpPr>
        <p:spPr>
          <a:xfrm>
            <a:off x="718457" y="718457"/>
            <a:ext cx="10775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C</a:t>
            </a:r>
          </a:p>
        </p:txBody>
      </p:sp>
      <p:pic>
        <p:nvPicPr>
          <p:cNvPr id="9" name="Picture 8" descr="A stack of flyers on a table&#10;&#10;Description automatically generated">
            <a:extLst>
              <a:ext uri="{FF2B5EF4-FFF2-40B4-BE49-F238E27FC236}">
                <a16:creationId xmlns:a16="http://schemas.microsoft.com/office/drawing/2014/main" id="{BBE08DBC-52E1-F245-A395-DFEED8E928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3713"/>
          <a:stretch/>
        </p:blipFill>
        <p:spPr>
          <a:xfrm>
            <a:off x="2345169" y="0"/>
            <a:ext cx="6826349" cy="6356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18749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347EF9-522E-F740-BC66-9F60B95A82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3132A5-6E3A-3B47-86C7-0E17BD84E4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EA8B49-83B7-4E47-B400-09102E72DB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19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ABB6A9E-786D-334D-9AF5-807E29ACABDA}"/>
              </a:ext>
            </a:extLst>
          </p:cNvPr>
          <p:cNvSpPr txBox="1"/>
          <p:nvPr/>
        </p:nvSpPr>
        <p:spPr>
          <a:xfrm>
            <a:off x="718457" y="718457"/>
            <a:ext cx="10871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D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FDE1CA1-7A37-CA40-ADED-D076B520D08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7088"/>
          <a:stretch/>
        </p:blipFill>
        <p:spPr>
          <a:xfrm>
            <a:off x="2401740" y="0"/>
            <a:ext cx="6899014" cy="6447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99504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60A683-74B9-3245-B876-F00F80C876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417443"/>
            <a:ext cx="10273747" cy="5705062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5 min </a:t>
            </a:r>
            <a:r>
              <a:rPr lang="en-US" b="1" dirty="0">
                <a:solidFill>
                  <a:schemeClr val="bg1"/>
                </a:solidFill>
              </a:rPr>
              <a:t>Intro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20 min </a:t>
            </a:r>
            <a:r>
              <a:rPr lang="en-US" b="1" dirty="0">
                <a:solidFill>
                  <a:schemeClr val="bg1"/>
                </a:solidFill>
              </a:rPr>
              <a:t>Mobility as a Service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30 min </a:t>
            </a:r>
            <a:r>
              <a:rPr lang="en-US" b="1" dirty="0">
                <a:solidFill>
                  <a:schemeClr val="bg1"/>
                </a:solidFill>
              </a:rPr>
              <a:t>Problem-Storming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10 min </a:t>
            </a:r>
            <a:r>
              <a:rPr lang="en-US" b="1" dirty="0" err="1">
                <a:solidFill>
                  <a:schemeClr val="bg1"/>
                </a:solidFill>
              </a:rPr>
              <a:t>Problemstorm</a:t>
            </a:r>
            <a:r>
              <a:rPr lang="en-US" b="1" dirty="0">
                <a:solidFill>
                  <a:schemeClr val="bg1"/>
                </a:solidFill>
              </a:rPr>
              <a:t>-Pitches</a:t>
            </a:r>
          </a:p>
          <a:p>
            <a:r>
              <a:rPr lang="en-US" dirty="0">
                <a:solidFill>
                  <a:schemeClr val="bg1"/>
                </a:solidFill>
              </a:rPr>
              <a:t>20 min </a:t>
            </a:r>
            <a:r>
              <a:rPr lang="en-US" b="1" dirty="0" err="1">
                <a:solidFill>
                  <a:schemeClr val="bg1"/>
                </a:solidFill>
              </a:rPr>
              <a:t>Painstorming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10 min </a:t>
            </a:r>
            <a:r>
              <a:rPr lang="en-US" b="1" dirty="0" err="1">
                <a:solidFill>
                  <a:schemeClr val="bg1"/>
                </a:solidFill>
              </a:rPr>
              <a:t>Painstorm</a:t>
            </a:r>
            <a:r>
              <a:rPr lang="en-US" b="1" dirty="0">
                <a:solidFill>
                  <a:schemeClr val="bg1"/>
                </a:solidFill>
              </a:rPr>
              <a:t>-Pitches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10 min </a:t>
            </a:r>
            <a:r>
              <a:rPr lang="en-US" b="1" dirty="0">
                <a:solidFill>
                  <a:schemeClr val="bg1"/>
                </a:solidFill>
              </a:rPr>
              <a:t>Pause</a:t>
            </a:r>
          </a:p>
          <a:p>
            <a:r>
              <a:rPr lang="en-US" dirty="0">
                <a:solidFill>
                  <a:schemeClr val="bg1"/>
                </a:solidFill>
              </a:rPr>
              <a:t>25 min </a:t>
            </a:r>
            <a:r>
              <a:rPr lang="en-US" b="1" dirty="0" err="1">
                <a:solidFill>
                  <a:schemeClr val="bg1"/>
                </a:solidFill>
              </a:rPr>
              <a:t>Ideen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entwickeln</a:t>
            </a:r>
            <a:endParaRPr lang="en-US" b="1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10 min </a:t>
            </a:r>
            <a:r>
              <a:rPr lang="en-US" b="1" dirty="0" err="1">
                <a:solidFill>
                  <a:schemeClr val="bg1"/>
                </a:solidFill>
              </a:rPr>
              <a:t>Ideen</a:t>
            </a:r>
            <a:r>
              <a:rPr lang="en-US" b="1" dirty="0">
                <a:solidFill>
                  <a:schemeClr val="bg1"/>
                </a:solidFill>
              </a:rPr>
              <a:t> Pitches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5 min </a:t>
            </a:r>
            <a:r>
              <a:rPr lang="en-US" b="1" dirty="0">
                <a:solidFill>
                  <a:schemeClr val="bg1"/>
                </a:solidFill>
              </a:rPr>
              <a:t>Closing Remarks</a:t>
            </a:r>
          </a:p>
          <a:p>
            <a:r>
              <a:rPr lang="en-US" b="1" dirty="0">
                <a:solidFill>
                  <a:schemeClr val="bg1"/>
                </a:solidFill>
              </a:rPr>
              <a:t>APERO (endless)</a:t>
            </a:r>
            <a:endParaRPr lang="de-CH" b="1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F1AC6A0-0462-6E4E-AD68-CFBEDAD37B77}"/>
              </a:ext>
            </a:extLst>
          </p:cNvPr>
          <p:cNvSpPr txBox="1"/>
          <p:nvPr/>
        </p:nvSpPr>
        <p:spPr>
          <a:xfrm>
            <a:off x="7454685" y="20147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A5AA260-522D-9544-832E-06E97BA066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23. Mai 2019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03BA7B46-D3ED-4F4C-94FB-397AD20201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innolab smart mobility - Marius Schmidt | Andi Kronawitter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3E510B6-5302-A240-A5A5-2A736EEDE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>
                <a:solidFill>
                  <a:schemeClr val="bg1"/>
                </a:solidFill>
              </a:rPr>
              <a:t>2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5271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B44998-B8A6-2342-9859-A4583FF127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5D6185-3026-7D4F-9DFC-59B5B152D5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20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B1A17F6-FFF3-6F4B-B290-4CE5A594703E}"/>
              </a:ext>
            </a:extLst>
          </p:cNvPr>
          <p:cNvSpPr txBox="1"/>
          <p:nvPr/>
        </p:nvSpPr>
        <p:spPr>
          <a:xfrm>
            <a:off x="718457" y="718457"/>
            <a:ext cx="10871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E</a:t>
            </a:r>
          </a:p>
        </p:txBody>
      </p:sp>
      <p:pic>
        <p:nvPicPr>
          <p:cNvPr id="9" name="Picture 8" descr="A close up of a map&#10;&#10;Description automatically generated">
            <a:extLst>
              <a:ext uri="{FF2B5EF4-FFF2-40B4-BE49-F238E27FC236}">
                <a16:creationId xmlns:a16="http://schemas.microsoft.com/office/drawing/2014/main" id="{9B25F55B-EBB0-A943-A855-2D4220A9977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726" b="1991"/>
          <a:stretch/>
        </p:blipFill>
        <p:spPr>
          <a:xfrm>
            <a:off x="3218605" y="0"/>
            <a:ext cx="5394717" cy="6493397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761B96-0150-ED41-878C-DF73EC045E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23952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139345-1F0B-5846-A7BE-6EA96F8BBD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err="1"/>
              <a:t>Runde</a:t>
            </a:r>
            <a:r>
              <a:rPr lang="en-US" sz="3600" dirty="0"/>
              <a:t> 3: </a:t>
            </a:r>
            <a:br>
              <a:rPr lang="en-US" sz="3600" dirty="0"/>
            </a:br>
            <a:r>
              <a:rPr lang="en-US" sz="3600" dirty="0"/>
              <a:t>Back to reality: </a:t>
            </a:r>
            <a:r>
              <a:rPr lang="en-US" sz="3600" dirty="0" err="1"/>
              <a:t>Ideen</a:t>
            </a:r>
            <a:r>
              <a:rPr lang="en-US" sz="3600" dirty="0"/>
              <a:t> </a:t>
            </a:r>
            <a:r>
              <a:rPr lang="en-US" sz="3600" dirty="0" err="1"/>
              <a:t>für</a:t>
            </a:r>
            <a:r>
              <a:rPr lang="en-US" sz="3600" dirty="0"/>
              <a:t> “</a:t>
            </a:r>
            <a:r>
              <a:rPr lang="en-US" sz="3600" dirty="0" err="1"/>
              <a:t>demnächst</a:t>
            </a:r>
            <a:r>
              <a:rPr lang="en-US" sz="3600" dirty="0"/>
              <a:t>”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013769-8D30-9141-BB0B-E624CF181A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5 Gruppen</a:t>
            </a:r>
          </a:p>
          <a:p>
            <a:endParaRPr lang="en-US" dirty="0"/>
          </a:p>
          <a:p>
            <a:r>
              <a:rPr lang="en-US" dirty="0"/>
              <a:t>Pro Gruppe 1 </a:t>
            </a:r>
            <a:r>
              <a:rPr lang="en-US" dirty="0" err="1"/>
              <a:t>oder</a:t>
            </a:r>
            <a:r>
              <a:rPr lang="en-US" dirty="0"/>
              <a:t> 2 </a:t>
            </a:r>
            <a:r>
              <a:rPr lang="en-US" dirty="0" err="1"/>
              <a:t>Ideen</a:t>
            </a:r>
            <a:endParaRPr lang="en-US" dirty="0"/>
          </a:p>
          <a:p>
            <a:r>
              <a:rPr lang="en-US" dirty="0"/>
              <a:t>NABC</a:t>
            </a:r>
          </a:p>
          <a:p>
            <a:endParaRPr lang="en-US" dirty="0"/>
          </a:p>
          <a:p>
            <a:r>
              <a:rPr lang="en-US" dirty="0"/>
              <a:t>20 mi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E93BCB-1C23-5443-96AF-95AE4E74E3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5E350B-E63E-834D-AC64-2EB578685B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B1B34A-55F4-6A44-A376-F1C90F4A76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21</a:t>
            </a:fld>
            <a:endParaRPr lang="en-US"/>
          </a:p>
        </p:txBody>
      </p:sp>
      <p:pic>
        <p:nvPicPr>
          <p:cNvPr id="23558" name="Picture 6" descr="Bildergebnis für brainstorming">
            <a:extLst>
              <a:ext uri="{FF2B5EF4-FFF2-40B4-BE49-F238E27FC236}">
                <a16:creationId xmlns:a16="http://schemas.microsoft.com/office/drawing/2014/main" id="{F2D57EA4-B3D8-EE4A-91E4-6E40B095FA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1761" y="2256598"/>
            <a:ext cx="4292520" cy="2866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92389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B45A142-4255-493C-8284-5D566C121B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7"/>
            <a:ext cx="4332307" cy="6179552"/>
          </a:xfrm>
          <a:prstGeom prst="rect">
            <a:avLst/>
          </a:prstGeom>
          <a:solidFill>
            <a:srgbClr val="404040">
              <a:alpha val="89804"/>
            </a:srgbClr>
          </a:solidFill>
          <a:ln w="127000" cap="sq" cmpd="thinThick">
            <a:solidFill>
              <a:srgbClr val="595959">
                <a:alpha val="8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139345-1F0B-5846-A7BE-6EA96F8BBD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4237" y="914400"/>
            <a:ext cx="3657600" cy="2887579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48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Pitch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013769-8D30-9141-BB0B-E624CF181A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4237" y="4170501"/>
            <a:ext cx="3657600" cy="1525597"/>
          </a:xfrm>
        </p:spPr>
        <p:txBody>
          <a:bodyPr vert="horz" lIns="91440" tIns="45720" rIns="91440" bIns="45720" rtlCol="0">
            <a:normAutofit/>
          </a:bodyPr>
          <a:lstStyle/>
          <a:p>
            <a:pPr marL="0" indent="0" algn="ctr">
              <a:buNone/>
            </a:pPr>
            <a:r>
              <a:rPr lang="en-US" sz="2000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5</a:t>
            </a:r>
            <a:r>
              <a:rPr lang="en-US" sz="2000" kern="1200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x 3 min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8FB9660-F42F-4313-BBC4-47C007FE48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191126" y="3910267"/>
            <a:ext cx="2586790" cy="0"/>
          </a:xfrm>
          <a:prstGeom prst="line">
            <a:avLst/>
          </a:prstGeom>
          <a:ln w="2222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E93BCB-1C23-5443-96AF-95AE4E74E31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74237" y="5789576"/>
            <a:ext cx="3657600" cy="33351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600">
                <a:solidFill>
                  <a:srgbClr val="FFFFFF"/>
                </a:solidFill>
              </a:rPr>
              <a:t>23. Mai 2019</a:t>
            </a:r>
            <a:endParaRPr lang="en-US" sz="1600" dirty="0">
              <a:solidFill>
                <a:srgbClr val="FFFFFF"/>
              </a:solidFill>
            </a:endParaRPr>
          </a:p>
        </p:txBody>
      </p:sp>
      <p:pic>
        <p:nvPicPr>
          <p:cNvPr id="7" name="Picture 2" descr="Bildergebnis für Zeit läuft">
            <a:extLst>
              <a:ext uri="{FF2B5EF4-FFF2-40B4-BE49-F238E27FC236}">
                <a16:creationId xmlns:a16="http://schemas.microsoft.com/office/drawing/2014/main" id="{FE201272-4A9D-E049-8FC9-1116A7F665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53822" y="1204766"/>
            <a:ext cx="6553545" cy="4456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5E350B-E63E-834D-AC64-2EB578685B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3822" y="6356350"/>
            <a:ext cx="461582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1000" kern="1200">
                <a:solidFill>
                  <a:srgbClr val="595959"/>
                </a:solidFill>
                <a:latin typeface="+mn-lt"/>
                <a:ea typeface="+mn-ea"/>
                <a:cs typeface="+mn-cs"/>
              </a:rPr>
              <a:t>innolab smart mobility - Marius Schmidt | Andi Kronawit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B1B34A-55F4-6A44-A376-F1C90F4A76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91022" y="6356350"/>
            <a:ext cx="1362777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2C422B48-A01B-014E-891E-B9F4D62A9E6A}" type="slidenum">
              <a:rPr lang="en-US">
                <a:solidFill>
                  <a:srgbClr val="595959"/>
                </a:solidFill>
              </a:rPr>
              <a:pPr>
                <a:spcAft>
                  <a:spcPts val="600"/>
                </a:spcAft>
              </a:pPr>
              <a:t>22</a:t>
            </a:fld>
            <a:endParaRPr lang="en-US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62187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E05959-60FE-F04B-893C-6E3D921341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3F36E2-A566-C94B-8E80-D3F5D3C7DF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D4F693-C77B-2848-B347-3BC77A0E0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23</a:t>
            </a:fld>
            <a:endParaRPr lang="en-US"/>
          </a:p>
        </p:txBody>
      </p:sp>
      <p:pic>
        <p:nvPicPr>
          <p:cNvPr id="8" name="Picture 7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B1D12A74-628B-994A-8AE8-45AB4954B9E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220" b="15949"/>
          <a:stretch/>
        </p:blipFill>
        <p:spPr>
          <a:xfrm>
            <a:off x="5093343" y="0"/>
            <a:ext cx="5057654" cy="637513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8327D8A-BEF4-C24D-9A6F-AB8F97345865}"/>
              </a:ext>
            </a:extLst>
          </p:cNvPr>
          <p:cNvSpPr txBox="1"/>
          <p:nvPr/>
        </p:nvSpPr>
        <p:spPr>
          <a:xfrm>
            <a:off x="718457" y="718457"/>
            <a:ext cx="10775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A</a:t>
            </a:r>
          </a:p>
        </p:txBody>
      </p:sp>
    </p:spTree>
    <p:extLst>
      <p:ext uri="{BB962C8B-B14F-4D97-AF65-F5344CB8AC3E}">
        <p14:creationId xmlns:p14="http://schemas.microsoft.com/office/powerpoint/2010/main" val="166694809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1148E6-874F-FC46-BE69-3E04C2542F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ECD9A1-352E-BF4F-A1FA-2D5ECA0F5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9AF19B-9232-D94E-81D2-18A62995F6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24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B003AD3-944E-6F4D-8261-87AB1B148BA3}"/>
              </a:ext>
            </a:extLst>
          </p:cNvPr>
          <p:cNvSpPr txBox="1"/>
          <p:nvPr/>
        </p:nvSpPr>
        <p:spPr>
          <a:xfrm>
            <a:off x="718457" y="718457"/>
            <a:ext cx="1069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B</a:t>
            </a:r>
          </a:p>
        </p:txBody>
      </p:sp>
      <p:pic>
        <p:nvPicPr>
          <p:cNvPr id="9" name="Picture 8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4AB920C8-AA62-3145-A430-7DB5F58200B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88" b="7315"/>
          <a:stretch/>
        </p:blipFill>
        <p:spPr>
          <a:xfrm>
            <a:off x="3752126" y="0"/>
            <a:ext cx="4920719" cy="6356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72893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7407B1-588A-F04A-A38B-BE4BEBE89E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09B9D6-0CFD-1747-AA80-AD1B716B62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B7F58D-3812-124C-9E6A-EA529E3D3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25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6FF5ABC-CBDB-DB4C-BBD5-295BFF699F98}"/>
              </a:ext>
            </a:extLst>
          </p:cNvPr>
          <p:cNvSpPr txBox="1"/>
          <p:nvPr/>
        </p:nvSpPr>
        <p:spPr>
          <a:xfrm>
            <a:off x="718457" y="718457"/>
            <a:ext cx="10679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C</a:t>
            </a:r>
          </a:p>
        </p:txBody>
      </p:sp>
      <p:pic>
        <p:nvPicPr>
          <p:cNvPr id="9" name="Picture 8" descr="A close up of text on a white surface&#10;&#10;Description automatically generated">
            <a:extLst>
              <a:ext uri="{FF2B5EF4-FFF2-40B4-BE49-F238E27FC236}">
                <a16:creationId xmlns:a16="http://schemas.microsoft.com/office/drawing/2014/main" id="{1E8EE6AD-2704-C246-A6DA-EA684BFC9BB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991" b="40422"/>
          <a:stretch/>
        </p:blipFill>
        <p:spPr>
          <a:xfrm>
            <a:off x="3874942" y="0"/>
            <a:ext cx="7149459" cy="6356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61660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94F370-8682-CB42-9AB1-B7CA6E39A9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0A4E33-F8A8-0840-A329-C2250FC71D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B750DB-3A75-D342-BA89-9EC6D44B6B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26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354DE30-7E43-DC40-B918-2FCAF3910B65}"/>
              </a:ext>
            </a:extLst>
          </p:cNvPr>
          <p:cNvSpPr txBox="1"/>
          <p:nvPr/>
        </p:nvSpPr>
        <p:spPr>
          <a:xfrm>
            <a:off x="718457" y="718457"/>
            <a:ext cx="10871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D</a:t>
            </a:r>
          </a:p>
        </p:txBody>
      </p:sp>
      <p:pic>
        <p:nvPicPr>
          <p:cNvPr id="9" name="Picture 8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9DF6251F-8CC8-5D46-BD68-754A07E8B60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545" b="17299"/>
          <a:stretch/>
        </p:blipFill>
        <p:spPr>
          <a:xfrm>
            <a:off x="3861371" y="0"/>
            <a:ext cx="5236330" cy="6360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35802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9A1B67-D0FF-6E41-A4EE-48EF85C636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B1DAEC-B8C3-2345-8320-35D2BBB081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BD0BC8-93A6-764C-AB15-CF6E46F923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27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1CE26C2-0BFA-B64F-81AF-F80A28C5B19C}"/>
              </a:ext>
            </a:extLst>
          </p:cNvPr>
          <p:cNvSpPr txBox="1"/>
          <p:nvPr/>
        </p:nvSpPr>
        <p:spPr>
          <a:xfrm>
            <a:off x="718457" y="718457"/>
            <a:ext cx="1056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E</a:t>
            </a:r>
          </a:p>
        </p:txBody>
      </p:sp>
      <p:pic>
        <p:nvPicPr>
          <p:cNvPr id="9" name="Picture 8" descr="A screenshot of text&#10;&#10;Description automatically generated">
            <a:extLst>
              <a:ext uri="{FF2B5EF4-FFF2-40B4-BE49-F238E27FC236}">
                <a16:creationId xmlns:a16="http://schemas.microsoft.com/office/drawing/2014/main" id="{CAF7A735-F063-C442-AC8E-C8DF0189A34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2995" b="15612"/>
          <a:stretch/>
        </p:blipFill>
        <p:spPr>
          <a:xfrm>
            <a:off x="3991840" y="-1"/>
            <a:ext cx="5487825" cy="6384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22433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EC31B3-A493-9D4E-A6EF-88AFAF2969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de-CH" dirty="0"/>
            </a:b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0BCE14-1EA3-E549-88BE-BA259AA1DF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51060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de-CH" sz="1800" dirty="0"/>
          </a:p>
          <a:p>
            <a:pPr marL="0" indent="0" algn="ctr">
              <a:buNone/>
            </a:pPr>
            <a:r>
              <a:rPr lang="de-CH" sz="3200" dirty="0"/>
              <a:t>Ergebnisse aller </a:t>
            </a:r>
            <a:r>
              <a:rPr lang="de-CH" sz="3200" dirty="0" err="1"/>
              <a:t>Meetups</a:t>
            </a:r>
            <a:r>
              <a:rPr lang="de-CH" sz="3200" dirty="0"/>
              <a:t>: </a:t>
            </a:r>
          </a:p>
          <a:p>
            <a:pPr marL="0" indent="0" algn="ctr">
              <a:buNone/>
            </a:pPr>
            <a:r>
              <a:rPr lang="de-CH" sz="3200" dirty="0">
                <a:hlinkClick r:id="rId3"/>
              </a:rPr>
              <a:t>http://innolab-smart-mobility.ch/mobilitaets-meetups/</a:t>
            </a:r>
            <a:endParaRPr lang="de-CH" sz="3200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014F6898-BC3F-DE4C-BB0C-2A1BBFF956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04197819-B67A-F944-908E-6773606EB1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24D6FE7-3EC3-E54F-9ACB-579EA869E5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01131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9245CB-3490-B347-856F-F4574EE637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20215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 err="1"/>
              <a:t>Alle</a:t>
            </a:r>
            <a:r>
              <a:rPr lang="en-US" dirty="0"/>
              <a:t> </a:t>
            </a:r>
            <a:r>
              <a:rPr lang="en-US" dirty="0" err="1"/>
              <a:t>Termine</a:t>
            </a:r>
            <a:r>
              <a:rPr lang="en-US" dirty="0"/>
              <a:t> auf </a:t>
            </a:r>
            <a:r>
              <a:rPr lang="en-US" dirty="0" err="1"/>
              <a:t>meetup.com</a:t>
            </a:r>
            <a:r>
              <a:rPr lang="en-US" dirty="0"/>
              <a:t> – </a:t>
            </a:r>
            <a:r>
              <a:rPr lang="en-US" dirty="0" err="1"/>
              <a:t>innolab</a:t>
            </a:r>
            <a:r>
              <a:rPr lang="en-US" dirty="0"/>
              <a:t> smart mobility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sz="2000" dirty="0" err="1"/>
              <a:t>Donnerstag</a:t>
            </a:r>
            <a:r>
              <a:rPr lang="en-US" sz="2000" dirty="0"/>
              <a:t> 13.06.2019 “Primer in Robotics” (</a:t>
            </a:r>
            <a:r>
              <a:rPr lang="en-US" sz="2000" dirty="0" err="1"/>
              <a:t>mit</a:t>
            </a:r>
            <a:r>
              <a:rPr lang="en-US" sz="2000" dirty="0"/>
              <a:t> FHNW)</a:t>
            </a:r>
          </a:p>
          <a:p>
            <a:r>
              <a:rPr lang="en-US" sz="2000" dirty="0" err="1"/>
              <a:t>Donnerstag</a:t>
            </a:r>
            <a:r>
              <a:rPr lang="en-US" sz="2000" dirty="0"/>
              <a:t> 04.07.2019 Special </a:t>
            </a:r>
            <a:r>
              <a:rPr lang="en-US" sz="2000" dirty="0" err="1"/>
              <a:t>MeetUp</a:t>
            </a:r>
            <a:r>
              <a:rPr lang="en-US" sz="2000" dirty="0"/>
              <a:t> </a:t>
            </a:r>
            <a:r>
              <a:rPr lang="en-US" sz="2000" dirty="0" err="1"/>
              <a:t>mit</a:t>
            </a:r>
            <a:r>
              <a:rPr lang="en-US" sz="2000" dirty="0"/>
              <a:t> </a:t>
            </a:r>
            <a:r>
              <a:rPr lang="en-US" sz="2000" dirty="0" err="1"/>
              <a:t>Grillparty</a:t>
            </a:r>
            <a:endParaRPr lang="en-US" sz="2000" dirty="0"/>
          </a:p>
          <a:p>
            <a:r>
              <a:rPr lang="en-US" sz="2000" dirty="0" err="1"/>
              <a:t>Donnerstag</a:t>
            </a:r>
            <a:r>
              <a:rPr lang="en-US" sz="2000" dirty="0"/>
              <a:t> 22.08.2019</a:t>
            </a:r>
          </a:p>
          <a:p>
            <a:r>
              <a:rPr lang="en-US" sz="2000" dirty="0" err="1"/>
              <a:t>Donnerstag</a:t>
            </a:r>
            <a:r>
              <a:rPr lang="en-US" sz="2000" dirty="0"/>
              <a:t> 26.09.2019</a:t>
            </a:r>
          </a:p>
          <a:p>
            <a:r>
              <a:rPr lang="en-US" sz="2000" dirty="0" err="1"/>
              <a:t>Donnerstag</a:t>
            </a:r>
            <a:r>
              <a:rPr lang="en-US" sz="2000" dirty="0"/>
              <a:t> 17.10.2019</a:t>
            </a:r>
          </a:p>
          <a:p>
            <a:r>
              <a:rPr lang="en-US" sz="2000" dirty="0" err="1"/>
              <a:t>Donnerstag</a:t>
            </a:r>
            <a:r>
              <a:rPr lang="en-US" sz="2000" dirty="0"/>
              <a:t> 21.11.2019</a:t>
            </a:r>
          </a:p>
          <a:p>
            <a:r>
              <a:rPr lang="en-US" sz="2000" dirty="0" err="1"/>
              <a:t>Donnerstag</a:t>
            </a:r>
            <a:r>
              <a:rPr lang="en-US" sz="2000" dirty="0"/>
              <a:t> 05.12.2019 Special Meetup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9" name="Content Placeholder 7">
            <a:extLst>
              <a:ext uri="{FF2B5EF4-FFF2-40B4-BE49-F238E27FC236}">
                <a16:creationId xmlns:a16="http://schemas.microsoft.com/office/drawing/2014/main" id="{68416EC4-F352-D645-9E9A-AF93994C2D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184207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7BBFA87-9D06-E040-A24B-5E53324C73FE}"/>
              </a:ext>
            </a:extLst>
          </p:cNvPr>
          <p:cNvSpPr txBox="1"/>
          <p:nvPr/>
        </p:nvSpPr>
        <p:spPr>
          <a:xfrm rot="21120954">
            <a:off x="9764307" y="505539"/>
            <a:ext cx="156164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 dirty="0">
                <a:solidFill>
                  <a:srgbClr val="FF0000"/>
                </a:solidFill>
                <a:latin typeface="Bradley Hand" pitchFamily="2" charset="77"/>
              </a:rPr>
              <a:t>2019</a:t>
            </a:r>
            <a:endParaRPr lang="en-US" sz="4000" b="1" dirty="0">
              <a:solidFill>
                <a:srgbClr val="FF0000"/>
              </a:solidFill>
              <a:latin typeface="Bradley Hand" pitchFamily="2" charset="77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20EE419-53DA-1147-825E-00213B44E7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4120D3CE-74BF-1847-BC8F-B94DF95103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E554E92-1CC6-7D4F-AA6B-F56598DA54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35542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F430B85-4D15-4BA4-B8FD-6C7FD7EE79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0" name="think-cell Folie" r:id="rId5" imgW="500" imgH="523" progId="TCLayout.ActiveDocument.1">
                  <p:embed/>
                </p:oleObj>
              </mc:Choice>
              <mc:Fallback>
                <p:oleObj name="think-cell Folie" r:id="rId5" imgW="500" imgH="5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F430B85-4D15-4BA4-B8FD-6C7FD7EE7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B051E88-7C52-4E97-8661-DCE5DB2A114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CH" sz="4400" dirty="0">
              <a:latin typeface="Malgun Gothic" panose="020B0503020000020004" pitchFamily="34" charset="-127"/>
              <a:ea typeface="Malgun Gothic" panose="020B0503020000020004" pitchFamily="34" charset="-127"/>
              <a:sym typeface="Malgun Gothic" panose="020B0503020000020004" pitchFamily="34" charset="-127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8919590-5EF9-4877-A35E-FC628CB63BA4}"/>
              </a:ext>
            </a:extLst>
          </p:cNvPr>
          <p:cNvSpPr/>
          <p:nvPr/>
        </p:nvSpPr>
        <p:spPr>
          <a:xfrm>
            <a:off x="838199" y="1716047"/>
            <a:ext cx="10515601" cy="189199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A2F2C79-4D28-416E-AFF9-988FD52C8674}"/>
              </a:ext>
            </a:extLst>
          </p:cNvPr>
          <p:cNvSpPr/>
          <p:nvPr/>
        </p:nvSpPr>
        <p:spPr>
          <a:xfrm>
            <a:off x="838199" y="4813785"/>
            <a:ext cx="10515601" cy="129266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12DA18-67A1-4A5F-8BDE-E6D0662899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Warum ein innolab smart mobility?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D01FE0-5517-4AAC-B87C-4CD3218B5E7F}"/>
              </a:ext>
            </a:extLst>
          </p:cNvPr>
          <p:cNvSpPr txBox="1"/>
          <p:nvPr/>
        </p:nvSpPr>
        <p:spPr>
          <a:xfrm>
            <a:off x="838200" y="4921507"/>
            <a:ext cx="1051559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600" dirty="0"/>
              <a:t>«Die Schweiz war mal unser Vorbild»</a:t>
            </a:r>
          </a:p>
          <a:p>
            <a:pPr algn="ctr">
              <a:spcBef>
                <a:spcPts val="1200"/>
              </a:spcBef>
            </a:pPr>
            <a:r>
              <a:rPr lang="de-CH" dirty="0"/>
              <a:t>Caroline Seah, Urban Redevelopment Agency, Singapore</a:t>
            </a:r>
            <a:endParaRPr lang="en-US" dirty="0"/>
          </a:p>
        </p:txBody>
      </p:sp>
      <p:sp>
        <p:nvSpPr>
          <p:cNvPr id="11" name="Arrow: Down 10">
            <a:extLst>
              <a:ext uri="{FF2B5EF4-FFF2-40B4-BE49-F238E27FC236}">
                <a16:creationId xmlns:a16="http://schemas.microsoft.com/office/drawing/2014/main" id="{2174B2E6-E885-4D83-9898-8BE371D361F8}"/>
              </a:ext>
            </a:extLst>
          </p:cNvPr>
          <p:cNvSpPr/>
          <p:nvPr/>
        </p:nvSpPr>
        <p:spPr>
          <a:xfrm rot="10800000">
            <a:off x="838200" y="3710354"/>
            <a:ext cx="1044848" cy="1001113"/>
          </a:xfrm>
          <a:prstGeom prst="downArrow">
            <a:avLst>
              <a:gd name="adj1" fmla="val 66820"/>
              <a:gd name="adj2" fmla="val 4850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EFBBA12-EF65-42A3-9673-B06B48209EC9}"/>
              </a:ext>
            </a:extLst>
          </p:cNvPr>
          <p:cNvSpPr txBox="1"/>
          <p:nvPr/>
        </p:nvSpPr>
        <p:spPr>
          <a:xfrm>
            <a:off x="838200" y="1756978"/>
            <a:ext cx="1051560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600" dirty="0"/>
              <a:t>«Bei Innovationen im Bereich Mobilität nimmt die Schweiz eine internationale Spitzenposition ein» </a:t>
            </a:r>
          </a:p>
          <a:p>
            <a:pPr algn="ctr">
              <a:spcBef>
                <a:spcPts val="1200"/>
              </a:spcBef>
            </a:pPr>
            <a:r>
              <a:rPr lang="de-CH" dirty="0"/>
              <a:t>Zukunft Mobilität Schweiz, UVEK 2017</a:t>
            </a:r>
            <a:endParaRPr lang="en-US" dirty="0"/>
          </a:p>
        </p:txBody>
      </p:sp>
      <p:sp>
        <p:nvSpPr>
          <p:cNvPr id="15" name="Arrow: Down 10">
            <a:extLst>
              <a:ext uri="{FF2B5EF4-FFF2-40B4-BE49-F238E27FC236}">
                <a16:creationId xmlns:a16="http://schemas.microsoft.com/office/drawing/2014/main" id="{83AF8C99-9BD3-49B3-B151-00F135C8FAD6}"/>
              </a:ext>
            </a:extLst>
          </p:cNvPr>
          <p:cNvSpPr/>
          <p:nvPr/>
        </p:nvSpPr>
        <p:spPr>
          <a:xfrm rot="10800000">
            <a:off x="3205888" y="3710354"/>
            <a:ext cx="1044848" cy="1001113"/>
          </a:xfrm>
          <a:prstGeom prst="downArrow">
            <a:avLst>
              <a:gd name="adj1" fmla="val 66820"/>
              <a:gd name="adj2" fmla="val 4850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row: Down 10">
            <a:extLst>
              <a:ext uri="{FF2B5EF4-FFF2-40B4-BE49-F238E27FC236}">
                <a16:creationId xmlns:a16="http://schemas.microsoft.com/office/drawing/2014/main" id="{E7A21FDA-E462-4BBD-B14A-97FA0FAAF8C6}"/>
              </a:ext>
            </a:extLst>
          </p:cNvPr>
          <p:cNvSpPr/>
          <p:nvPr/>
        </p:nvSpPr>
        <p:spPr>
          <a:xfrm rot="10800000">
            <a:off x="5573576" y="3710354"/>
            <a:ext cx="1044848" cy="1001113"/>
          </a:xfrm>
          <a:prstGeom prst="downArrow">
            <a:avLst>
              <a:gd name="adj1" fmla="val 66820"/>
              <a:gd name="adj2" fmla="val 4850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Arrow: Down 10">
            <a:extLst>
              <a:ext uri="{FF2B5EF4-FFF2-40B4-BE49-F238E27FC236}">
                <a16:creationId xmlns:a16="http://schemas.microsoft.com/office/drawing/2014/main" id="{1E627BEE-B08B-48F7-AF51-14DB02FC562E}"/>
              </a:ext>
            </a:extLst>
          </p:cNvPr>
          <p:cNvSpPr/>
          <p:nvPr/>
        </p:nvSpPr>
        <p:spPr>
          <a:xfrm rot="10800000">
            <a:off x="7941264" y="3710354"/>
            <a:ext cx="1044848" cy="1001113"/>
          </a:xfrm>
          <a:prstGeom prst="downArrow">
            <a:avLst>
              <a:gd name="adj1" fmla="val 66820"/>
              <a:gd name="adj2" fmla="val 4850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Arrow: Down 10">
            <a:extLst>
              <a:ext uri="{FF2B5EF4-FFF2-40B4-BE49-F238E27FC236}">
                <a16:creationId xmlns:a16="http://schemas.microsoft.com/office/drawing/2014/main" id="{81C6FC07-D276-4029-B6D4-D410235A090D}"/>
              </a:ext>
            </a:extLst>
          </p:cNvPr>
          <p:cNvSpPr/>
          <p:nvPr/>
        </p:nvSpPr>
        <p:spPr>
          <a:xfrm rot="10800000">
            <a:off x="10308952" y="3710354"/>
            <a:ext cx="1044848" cy="1001113"/>
          </a:xfrm>
          <a:prstGeom prst="downArrow">
            <a:avLst>
              <a:gd name="adj1" fmla="val 66820"/>
              <a:gd name="adj2" fmla="val 4850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ate Placeholder 18">
            <a:extLst>
              <a:ext uri="{FF2B5EF4-FFF2-40B4-BE49-F238E27FC236}">
                <a16:creationId xmlns:a16="http://schemas.microsoft.com/office/drawing/2014/main" id="{D71E1234-C560-3A44-8ECC-DABD7CF9DE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20539364-100D-2843-A639-84F8D29174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9D7B0000-44BB-E74E-AD2C-2E3E4E91E2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447230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9DA4DCB-ABB3-FA49-B093-085C9717CF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30213C-30F3-9A49-8838-8C7BB14B21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47245F-1C63-F049-8BFF-8C8C237EA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30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2E84CC3-AC74-CC48-882A-3A03BC92F493}"/>
              </a:ext>
            </a:extLst>
          </p:cNvPr>
          <p:cNvSpPr txBox="1"/>
          <p:nvPr/>
        </p:nvSpPr>
        <p:spPr>
          <a:xfrm>
            <a:off x="1025958" y="2921168"/>
            <a:ext cx="10140084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dirty="0">
                <a:solidFill>
                  <a:srgbClr val="FF2800"/>
                </a:solidFill>
                <a:latin typeface="Chalkduster" panose="03050602040202020205" pitchFamily="66" charset="77"/>
              </a:rPr>
              <a:t>ITS </a:t>
            </a:r>
            <a:r>
              <a:rPr lang="en-US" sz="6000" dirty="0" err="1">
                <a:solidFill>
                  <a:srgbClr val="FF2800"/>
                </a:solidFill>
                <a:latin typeface="Chalkduster" panose="03050602040202020205" pitchFamily="66" charset="77"/>
              </a:rPr>
              <a:t>Weltkongress</a:t>
            </a:r>
            <a:r>
              <a:rPr lang="en-US" sz="6000" dirty="0">
                <a:solidFill>
                  <a:srgbClr val="FF2800"/>
                </a:solidFill>
                <a:latin typeface="Chalkduster" panose="03050602040202020205" pitchFamily="66" charset="77"/>
              </a:rPr>
              <a:t> 2024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688819-B836-8E4F-B807-151C0959B061}"/>
              </a:ext>
            </a:extLst>
          </p:cNvPr>
          <p:cNvSpPr txBox="1"/>
          <p:nvPr/>
        </p:nvSpPr>
        <p:spPr>
          <a:xfrm>
            <a:off x="3766355" y="4464005"/>
            <a:ext cx="4659289" cy="11387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dirty="0">
                <a:latin typeface="Chalkduster" panose="03050602040202020205" pitchFamily="66" charset="77"/>
              </a:rPr>
              <a:t>Join us now!</a:t>
            </a:r>
          </a:p>
          <a:p>
            <a:pPr algn="ctr"/>
            <a:r>
              <a:rPr lang="en-US" sz="2000" dirty="0" err="1">
                <a:latin typeface="Chalkduster" panose="03050602040202020205" pitchFamily="66" charset="77"/>
              </a:rPr>
              <a:t>kronawitter@its-ch.ch</a:t>
            </a:r>
            <a:endParaRPr lang="en-US" sz="2000" dirty="0">
              <a:latin typeface="Chalkduster" panose="03050602040202020205" pitchFamily="66" charset="7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7AD831-1EF7-AB4D-92F6-6305D635B36A}"/>
              </a:ext>
            </a:extLst>
          </p:cNvPr>
          <p:cNvSpPr txBox="1"/>
          <p:nvPr/>
        </p:nvSpPr>
        <p:spPr>
          <a:xfrm>
            <a:off x="3952944" y="501649"/>
            <a:ext cx="4286110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Chalkduster" panose="03050602040202020205" pitchFamily="66" charset="77"/>
              </a:rPr>
              <a:t>10’000 – 15’000 Menschen</a:t>
            </a:r>
          </a:p>
          <a:p>
            <a:r>
              <a:rPr lang="en-US" dirty="0">
                <a:latin typeface="Chalkduster" panose="03050602040202020205" pitchFamily="66" charset="77"/>
              </a:rPr>
              <a:t>1 </a:t>
            </a:r>
            <a:r>
              <a:rPr lang="en-US" dirty="0" err="1">
                <a:latin typeface="Chalkduster" panose="03050602040202020205" pitchFamily="66" charset="77"/>
              </a:rPr>
              <a:t>Woche</a:t>
            </a:r>
            <a:endParaRPr lang="en-US" dirty="0">
              <a:latin typeface="Chalkduster" panose="03050602040202020205" pitchFamily="66" charset="77"/>
            </a:endParaRPr>
          </a:p>
          <a:p>
            <a:r>
              <a:rPr lang="en-US" dirty="0" err="1">
                <a:latin typeface="Chalkduster" panose="03050602040202020205" pitchFamily="66" charset="77"/>
              </a:rPr>
              <a:t>Leistungsschau</a:t>
            </a:r>
            <a:r>
              <a:rPr lang="en-US" dirty="0">
                <a:latin typeface="Chalkduster" panose="03050602040202020205" pitchFamily="66" charset="77"/>
              </a:rPr>
              <a:t> </a:t>
            </a:r>
            <a:r>
              <a:rPr lang="en-US" dirty="0" err="1">
                <a:latin typeface="Chalkduster" panose="03050602040202020205" pitchFamily="66" charset="77"/>
              </a:rPr>
              <a:t>für</a:t>
            </a:r>
            <a:r>
              <a:rPr lang="en-US" dirty="0">
                <a:latin typeface="Chalkduster" panose="03050602040202020205" pitchFamily="66" charset="77"/>
              </a:rPr>
              <a:t> die Schweiz</a:t>
            </a:r>
          </a:p>
          <a:p>
            <a:r>
              <a:rPr lang="en-US" dirty="0" err="1">
                <a:latin typeface="Chalkduster" panose="03050602040202020205" pitchFamily="66" charset="77"/>
              </a:rPr>
              <a:t>Ausstellung</a:t>
            </a:r>
            <a:endParaRPr lang="en-US" dirty="0">
              <a:latin typeface="Chalkduster" panose="03050602040202020205" pitchFamily="66" charset="77"/>
            </a:endParaRPr>
          </a:p>
          <a:p>
            <a:r>
              <a:rPr lang="en-US" dirty="0">
                <a:latin typeface="Chalkduster" panose="03050602040202020205" pitchFamily="66" charset="77"/>
              </a:rPr>
              <a:t>Startups</a:t>
            </a:r>
          </a:p>
          <a:p>
            <a:r>
              <a:rPr lang="en-US" dirty="0" err="1">
                <a:latin typeface="Chalkduster" panose="03050602040202020205" pitchFamily="66" charset="77"/>
              </a:rPr>
              <a:t>Exkursionen</a:t>
            </a:r>
            <a:r>
              <a:rPr lang="en-US" dirty="0">
                <a:latin typeface="Chalkduster" panose="03050602040202020205" pitchFamily="66" charset="77"/>
              </a:rPr>
              <a:t> in der Schweiz</a:t>
            </a:r>
          </a:p>
        </p:txBody>
      </p:sp>
    </p:spTree>
    <p:extLst>
      <p:ext uri="{BB962C8B-B14F-4D97-AF65-F5344CB8AC3E}">
        <p14:creationId xmlns:p14="http://schemas.microsoft.com/office/powerpoint/2010/main" val="117927618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83F0D8-E306-5348-8ABF-4585FB9FB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Weitere</a:t>
            </a:r>
            <a:r>
              <a:rPr lang="en-US" dirty="0"/>
              <a:t> </a:t>
            </a:r>
            <a:r>
              <a:rPr lang="en-US" dirty="0" err="1"/>
              <a:t>Veranstaltunge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402122-5F60-D844-A473-B9DE16D75C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7862" y="1825625"/>
            <a:ext cx="11508828" cy="4351338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endParaRPr lang="en-US" sz="2000" b="1" dirty="0"/>
          </a:p>
          <a:p>
            <a:pPr>
              <a:lnSpc>
                <a:spcPct val="100000"/>
              </a:lnSpc>
            </a:pPr>
            <a:endParaRPr lang="en-US" sz="2000" dirty="0"/>
          </a:p>
          <a:p>
            <a:pPr>
              <a:lnSpc>
                <a:spcPct val="100000"/>
              </a:lnSpc>
            </a:pPr>
            <a:r>
              <a:rPr lang="en-US" sz="2000" dirty="0" err="1"/>
              <a:t>Mobilität</a:t>
            </a:r>
            <a:r>
              <a:rPr lang="en-US" sz="2000" dirty="0"/>
              <a:t> neu </a:t>
            </a:r>
            <a:r>
              <a:rPr lang="en-US" sz="2000" dirty="0" err="1"/>
              <a:t>denken</a:t>
            </a:r>
            <a:r>
              <a:rPr lang="en-US" sz="2000" dirty="0"/>
              <a:t>: 26. August 2019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its Switzerland </a:t>
            </a:r>
            <a:r>
              <a:rPr lang="en-US" sz="2000" dirty="0" err="1"/>
              <a:t>Netzwerkanlass</a:t>
            </a:r>
            <a:r>
              <a:rPr lang="en-US" sz="2000" dirty="0"/>
              <a:t>: 11. September 2019</a:t>
            </a:r>
          </a:p>
          <a:p>
            <a:pPr>
              <a:lnSpc>
                <a:spcPct val="100000"/>
              </a:lnSpc>
            </a:pPr>
            <a:r>
              <a:rPr lang="en-US" sz="2000" dirty="0" err="1"/>
              <a:t>Mobilitätsarena</a:t>
            </a:r>
            <a:r>
              <a:rPr lang="en-US" sz="2000" dirty="0"/>
              <a:t>, Bern: 16.-20. September 2019</a:t>
            </a:r>
          </a:p>
          <a:p>
            <a:pPr>
              <a:lnSpc>
                <a:spcPct val="100000"/>
              </a:lnSpc>
            </a:pPr>
            <a:r>
              <a:rPr lang="en-US" sz="2000" dirty="0" err="1"/>
              <a:t>Asut</a:t>
            </a:r>
            <a:r>
              <a:rPr lang="en-US" sz="2000" dirty="0"/>
              <a:t>/its-</a:t>
            </a:r>
            <a:r>
              <a:rPr lang="en-US" sz="2000" dirty="0" err="1"/>
              <a:t>ch</a:t>
            </a:r>
            <a:r>
              <a:rPr lang="en-US" sz="2000" dirty="0"/>
              <a:t>/ASTRA/TCS </a:t>
            </a:r>
            <a:r>
              <a:rPr lang="en-US" sz="2000" dirty="0" err="1"/>
              <a:t>Kolloquium</a:t>
            </a:r>
            <a:r>
              <a:rPr lang="en-US" sz="2000" dirty="0"/>
              <a:t>, Bern: 13. November 2019</a:t>
            </a:r>
          </a:p>
          <a:p>
            <a:pPr marL="0" indent="0">
              <a:lnSpc>
                <a:spcPct val="100000"/>
              </a:lnSpc>
              <a:buNone/>
            </a:pPr>
            <a:br>
              <a:rPr lang="en-US" sz="2000" dirty="0"/>
            </a:br>
            <a:endParaRPr lang="en-US" sz="2000" dirty="0"/>
          </a:p>
          <a:p>
            <a:endParaRPr lang="en-US" sz="2000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1D1132E-D576-F247-85DE-5AC34B4928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99BF57E-EB25-EC42-AB51-4E185483F4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47236EB-3804-624F-A7CA-D567958ACD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61457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94F08E75-918A-0142-A028-896159CC07A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16250" y="3659972"/>
            <a:ext cx="1694986" cy="74732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561E748-6694-144B-BE8A-C48C596BE3E3}"/>
              </a:ext>
            </a:extLst>
          </p:cNvPr>
          <p:cNvSpPr txBox="1"/>
          <p:nvPr/>
        </p:nvSpPr>
        <p:spPr>
          <a:xfrm>
            <a:off x="3211236" y="476330"/>
            <a:ext cx="5769528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6600" dirty="0">
                <a:latin typeface="Bradley Hand" pitchFamily="2" charset="77"/>
              </a:rPr>
              <a:t>Merci </a:t>
            </a:r>
            <a:r>
              <a:rPr lang="de-CH" sz="6600" dirty="0" err="1">
                <a:latin typeface="Bradley Hand" pitchFamily="2" charset="77"/>
              </a:rPr>
              <a:t>beaucoup</a:t>
            </a:r>
            <a:endParaRPr lang="en-US" sz="6600" dirty="0">
              <a:latin typeface="Bradley Hand" pitchFamily="2" charset="77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2926067-23E5-7842-86F8-4D7A6AC8455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8170" y="1584326"/>
            <a:ext cx="4780022" cy="318668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229C5DA-D564-AC4F-AEFB-0A31C7BD639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1624" y="1823257"/>
            <a:ext cx="1241370" cy="94351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E016401-761F-4B4E-B16F-5D43995C83D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61" y="1767001"/>
            <a:ext cx="1830464" cy="73527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AD35CDD-72A1-2847-BC73-F5216CB8FF1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32970" y="5160669"/>
            <a:ext cx="1185436" cy="118543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9E74705-DFE8-A444-8C71-D59BA0BFFF41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61" y="4825155"/>
            <a:ext cx="2365603" cy="46957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9309030-0A1F-5A47-9ACF-6AFB766D617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048" y="2735881"/>
            <a:ext cx="2113088" cy="46957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F4F67D8-A514-C24A-8023-C76212901556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64798" y="4771362"/>
            <a:ext cx="2108196" cy="36375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999A6BE2-EB5D-1346-8050-8C8434E59450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8763" y="5837983"/>
            <a:ext cx="1809014" cy="30235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051A9D9-5D4D-1543-BE24-DF250DD92094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67231" y="4771006"/>
            <a:ext cx="2528931" cy="105673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902B4809-41F3-1B40-BEC5-DE8B6B1CFACA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80764" y="3374645"/>
            <a:ext cx="1777322" cy="74377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8E8212F6-3DDE-4746-8E50-6D8065992DFE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2309" y="5576144"/>
            <a:ext cx="1470784" cy="937625"/>
          </a:xfrm>
          <a:prstGeom prst="rect">
            <a:avLst/>
          </a:prstGeom>
        </p:spPr>
      </p:pic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35D1FCA-FE16-514E-B7FB-F144AF5171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23" name="Footer Placeholder 22">
            <a:extLst>
              <a:ext uri="{FF2B5EF4-FFF2-40B4-BE49-F238E27FC236}">
                <a16:creationId xmlns:a16="http://schemas.microsoft.com/office/drawing/2014/main" id="{4AB4E568-0C42-594E-B8CD-D4C161276D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</a:p>
        </p:txBody>
      </p:sp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id="{EDAA582F-C6D6-244E-9CAD-79BC6354FD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32</a:t>
            </a:fld>
            <a:endParaRPr lang="en-US"/>
          </a:p>
        </p:txBody>
      </p:sp>
      <p:pic>
        <p:nvPicPr>
          <p:cNvPr id="25" name="Picture 2" descr="Bildergebnis für logo netcetera">
            <a:extLst>
              <a:ext uri="{FF2B5EF4-FFF2-40B4-BE49-F238E27FC236}">
                <a16:creationId xmlns:a16="http://schemas.microsoft.com/office/drawing/2014/main" id="{2A22AD46-3472-7F4B-9A87-0479D394AD8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570154" y="5778366"/>
            <a:ext cx="2151624" cy="302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38900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239598B-58C4-4B6A-9781-7C7311AB32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8" name="think-cell Folie" r:id="rId5" imgW="500" imgH="523" progId="TCLayout.ActiveDocument.1">
                  <p:embed/>
                </p:oleObj>
              </mc:Choice>
              <mc:Fallback>
                <p:oleObj name="think-cell Folie" r:id="rId5" imgW="500" imgH="52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239598B-58C4-4B6A-9781-7C7311AB32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35AC188-7D32-4272-940D-04ABDF99DC0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CH" sz="4400" dirty="0">
              <a:latin typeface="Malgun Gothic" panose="020B0503020000020004" pitchFamily="34" charset="-127"/>
              <a:ea typeface="Malgun Gothic" panose="020B0503020000020004" pitchFamily="34" charset="-127"/>
              <a:sym typeface="Malgun Gothic" panose="020B0503020000020004" pitchFamily="34" charset="-127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71421B-AB2C-4E15-9D7A-13C413692F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Missio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5B9E27-E011-4F2A-B8B6-2CDF670551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de-CH"/>
              <a:t>Das innolab smart mobility ist der </a:t>
            </a:r>
            <a:r>
              <a:rPr lang="de-CH">
                <a:solidFill>
                  <a:schemeClr val="accent1"/>
                </a:solidFill>
              </a:rPr>
              <a:t>Kern des Schweizer Innovationsökosystems Mobilität</a:t>
            </a:r>
            <a:r>
              <a:rPr lang="de-CH"/>
              <a:t>.</a:t>
            </a:r>
          </a:p>
          <a:p>
            <a:endParaRPr lang="de-CH"/>
          </a:p>
          <a:p>
            <a:r>
              <a:rPr lang="de-CH"/>
              <a:t>Es leistet einen signifikanten Beitrag, damit die Schweiz ihre </a:t>
            </a:r>
            <a:r>
              <a:rPr lang="de-CH">
                <a:solidFill>
                  <a:schemeClr val="accent1"/>
                </a:solidFill>
              </a:rPr>
              <a:t>weltweit führende Position </a:t>
            </a:r>
            <a:r>
              <a:rPr lang="de-CH"/>
              <a:t>in der Mobilität behaupten und die zugehörige </a:t>
            </a:r>
            <a:r>
              <a:rPr lang="de-CH">
                <a:solidFill>
                  <a:schemeClr val="accent1"/>
                </a:solidFill>
              </a:rPr>
              <a:t>Wertschöpfung</a:t>
            </a:r>
            <a:r>
              <a:rPr lang="de-CH"/>
              <a:t> in der Schweiz ausbauen kann.</a:t>
            </a:r>
          </a:p>
          <a:p>
            <a:endParaRPr lang="de-CH"/>
          </a:p>
          <a:p>
            <a:r>
              <a:rPr lang="de-CH"/>
              <a:t>Smart Mobility ist ein wesentlicher Bestandteil der </a:t>
            </a:r>
            <a:r>
              <a:rPr lang="de-CH">
                <a:solidFill>
                  <a:schemeClr val="accent1"/>
                </a:solidFill>
              </a:rPr>
              <a:t>Smart</a:t>
            </a:r>
            <a:r>
              <a:rPr lang="de-CH" b="1">
                <a:solidFill>
                  <a:schemeClr val="accent1"/>
                </a:solidFill>
              </a:rPr>
              <a:t> </a:t>
            </a:r>
            <a:r>
              <a:rPr lang="de-CH">
                <a:solidFill>
                  <a:schemeClr val="accent1"/>
                </a:solidFill>
              </a:rPr>
              <a:t>Society</a:t>
            </a:r>
            <a:r>
              <a:rPr lang="de-CH"/>
              <a:t>.</a:t>
            </a:r>
            <a:endParaRPr lang="de-CH" dirty="0"/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25A9BCBE-C9CE-BF48-ACEA-637A864034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249224E-CDFD-F04B-81BD-B276599A4F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  <a:endParaRPr lang="en-US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172DED83-9442-B941-AAFA-B2A631D22C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57553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4" name="think-cell Folie" r:id="rId6" imgW="216" imgH="216" progId="TCLayout.ActiveDocument.1">
                  <p:embed/>
                </p:oleObj>
              </mc:Choice>
              <mc:Fallback>
                <p:oleObj name="think-cell Folie" r:id="rId6" imgW="216" imgH="2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7E0F9B27-3451-455B-9DAB-63FBF5DCDA5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2215"/>
              </a:lnSpc>
              <a:spcBef>
                <a:spcPct val="0"/>
              </a:spcBef>
              <a:spcAft>
                <a:spcPct val="0"/>
              </a:spcAft>
            </a:pPr>
            <a:endParaRPr lang="de-CH" sz="4400" dirty="0" err="1">
              <a:solidFill>
                <a:schemeClr val="tx1"/>
              </a:solidFill>
              <a:latin typeface="Malgun Gothic" panose="020B0503020000020004" pitchFamily="34" charset="-127"/>
              <a:ea typeface="Malgun Gothic" panose="020B0503020000020004" pitchFamily="34" charset="-127"/>
              <a:cs typeface="+mj-cs"/>
              <a:sym typeface="Malgun Gothic" panose="020B0503020000020004" pitchFamily="34" charset="-127"/>
            </a:endParaRP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62EB0444-F030-48FC-8AEE-652E594A887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4685" y="1369931"/>
            <a:ext cx="3340744" cy="1527823"/>
          </a:xfrm>
          <a:prstGeom prst="rect">
            <a:avLst/>
          </a:prstGeom>
        </p:spPr>
      </p:pic>
      <p:sp>
        <p:nvSpPr>
          <p:cNvPr id="57" name="Textfeld 56">
            <a:extLst>
              <a:ext uri="{FF2B5EF4-FFF2-40B4-BE49-F238E27FC236}">
                <a16:creationId xmlns:a16="http://schemas.microsoft.com/office/drawing/2014/main" id="{41D64F84-56C5-4714-90EC-9118197E00CC}"/>
              </a:ext>
            </a:extLst>
          </p:cNvPr>
          <p:cNvSpPr txBox="1"/>
          <p:nvPr/>
        </p:nvSpPr>
        <p:spPr>
          <a:xfrm>
            <a:off x="834297" y="3759015"/>
            <a:ext cx="3348000" cy="2482128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0" tIns="0" rIns="0" bIns="0" rtlCol="0" anchor="t">
            <a:noAutofit/>
          </a:bodyPr>
          <a:lstStyle/>
          <a:p>
            <a:pPr algn="l">
              <a:spcBef>
                <a:spcPts val="738"/>
              </a:spcBef>
              <a:buClr>
                <a:srgbClr val="BCD232"/>
              </a:buClr>
              <a:buSzPct val="100000"/>
              <a:defRPr/>
            </a:pPr>
            <a:r>
              <a:rPr lang="de-CH" sz="2000" b="1" dirty="0">
                <a:solidFill>
                  <a:schemeClr val="accent1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Vernetzen</a:t>
            </a:r>
            <a:endParaRPr lang="en-US" sz="1600" b="1" dirty="0">
              <a:solidFill>
                <a:schemeClr val="accent1"/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  <a:p>
            <a:pPr marL="180975" indent="-180975">
              <a:spcBef>
                <a:spcPts val="738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de-CH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Mobilität verbindet – </a:t>
            </a:r>
            <a:br>
              <a:rPr lang="de-CH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</a:br>
            <a:r>
              <a:rPr lang="de-CH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einer ist keiner</a:t>
            </a:r>
          </a:p>
          <a:p>
            <a:pPr marL="180975" indent="-180975">
              <a:spcBef>
                <a:spcPts val="738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de-CH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Kennen und vertrauen</a:t>
            </a:r>
          </a:p>
          <a:p>
            <a:pPr marL="180975" indent="-180975">
              <a:spcBef>
                <a:spcPts val="738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de-CH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Wissen vermehrt sich durch Teilen</a:t>
            </a:r>
            <a:endParaRPr lang="de-CH" sz="1600" dirty="0">
              <a:solidFill>
                <a:schemeClr val="tx1"/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2B66FC4C-1763-4E7B-B857-FBEE1969DB12}"/>
              </a:ext>
            </a:extLst>
          </p:cNvPr>
          <p:cNvCxnSpPr>
            <a:cxnSpLocks/>
          </p:cNvCxnSpPr>
          <p:nvPr/>
        </p:nvCxnSpPr>
        <p:spPr bwMode="auto">
          <a:xfrm>
            <a:off x="4289810" y="1370693"/>
            <a:ext cx="0" cy="4869996"/>
          </a:xfrm>
          <a:prstGeom prst="line">
            <a:avLst/>
          </a:prstGeom>
          <a:solidFill>
            <a:schemeClr val="hlink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CF5EDC28-0540-4F3F-AD0F-AFF1867D04F7}"/>
              </a:ext>
            </a:extLst>
          </p:cNvPr>
          <p:cNvSpPr txBox="1">
            <a:spLocks/>
          </p:cNvSpPr>
          <p:nvPr/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F0175618-D8E0-4B1C-AE76-C1C2031BB8DE}" type="datetime1">
              <a:rPr lang="de-DE" smtClean="0"/>
              <a:pPr algn="l"/>
              <a:t>07.06.19</a:t>
            </a:fld>
            <a:endParaRPr lang="en-US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53881874-A00F-4F20-985B-3C585D9BB0A1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chemeClr val="tx1">
                    <a:tint val="75000"/>
                  </a:schemeClr>
                </a:solidFill>
              </a:rPr>
              <a:t>innolab smart mobility</a:t>
            </a:r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083DD5A1-4D8A-4E26-AE4F-C7D3BF8D6BD0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</p:spPr>
        <p:txBody>
          <a:bodyPr vert="horz" wrap="square" lIns="91440" tIns="0" rIns="91440" bIns="0" rtlCol="0" anchor="ctr" anchorCtr="0">
            <a:noAutofit/>
          </a:bodyPr>
          <a:lstStyle>
            <a:lvl1pPr marL="0" indent="0" algn="l" defTabSz="9378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/>
              <a:buNone/>
              <a:tabLst>
                <a:tab pos="8499443" algn="r"/>
                <a:tab pos="11146972" algn="r"/>
              </a:tabLst>
              <a:defRPr lang="de-DE" sz="1400" b="1" kern="1200" noProof="0" dirty="0" smtClean="0">
                <a:solidFill>
                  <a:srgbClr val="B3CA2C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Malgun Gothic" charset="-127"/>
                <a:ea typeface="Malgun Gothic" charset="-127"/>
                <a:cs typeface="Malgun Gothic" charset="-127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Malgun Gothic" charset="-127"/>
                <a:ea typeface="Malgun Gothic" charset="-127"/>
                <a:cs typeface="Malgun Gothic" charset="-127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Malgun Gothic" charset="-127"/>
                <a:ea typeface="Malgun Gothic" charset="-127"/>
                <a:cs typeface="Malgun Gothic" charset="-127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Malgun Gothic" charset="-127"/>
                <a:ea typeface="Malgun Gothic" charset="-127"/>
                <a:cs typeface="Malgun Gothic" charset="-127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C422B48-A01B-014E-891E-B9F4D62A9E6A}" type="slidenum">
              <a:rPr lang="en-US" sz="1200" b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pPr algn="r"/>
              <a:t>5</a:t>
            </a:fld>
            <a:endParaRPr lang="en-US" sz="1200" b="0" dirty="0">
              <a:solidFill>
                <a:schemeClr val="tx1">
                  <a:tint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F7D8F6FE-5987-4529-86F6-040EBBAC3C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Vision</a:t>
            </a:r>
            <a:endParaRPr lang="en-US" dirty="0"/>
          </a:p>
        </p:txBody>
      </p:sp>
      <p:sp>
        <p:nvSpPr>
          <p:cNvPr id="18" name="Gleichschenkliges Dreieck 17">
            <a:extLst>
              <a:ext uri="{FF2B5EF4-FFF2-40B4-BE49-F238E27FC236}">
                <a16:creationId xmlns:a16="http://schemas.microsoft.com/office/drawing/2014/main" id="{9A24C71F-7426-42F5-9B34-817E91C3BDE6}"/>
              </a:ext>
            </a:extLst>
          </p:cNvPr>
          <p:cNvSpPr/>
          <p:nvPr/>
        </p:nvSpPr>
        <p:spPr bwMode="auto">
          <a:xfrm rot="10800000">
            <a:off x="834298" y="3235178"/>
            <a:ext cx="3348000" cy="265722"/>
          </a:xfrm>
          <a:prstGeom prst="triangle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1723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EFCE0E69-25BD-401D-BCF4-6E7F795FFBB4}"/>
              </a:ext>
            </a:extLst>
          </p:cNvPr>
          <p:cNvSpPr txBox="1"/>
          <p:nvPr/>
        </p:nvSpPr>
        <p:spPr>
          <a:xfrm>
            <a:off x="7941057" y="3758561"/>
            <a:ext cx="3348000" cy="2482128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0" tIns="0" rIns="0" bIns="0" rtlCol="0" anchor="t">
            <a:noAutofit/>
          </a:bodyPr>
          <a:lstStyle/>
          <a:p>
            <a:pPr algn="l">
              <a:spcBef>
                <a:spcPts val="738"/>
              </a:spcBef>
              <a:buClr>
                <a:srgbClr val="BCD232"/>
              </a:buClr>
              <a:buSzPct val="100000"/>
              <a:defRPr/>
            </a:pPr>
            <a:r>
              <a:rPr lang="de-CH" sz="2000" b="1" dirty="0">
                <a:solidFill>
                  <a:schemeClr val="accent1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Umsetzen</a:t>
            </a:r>
            <a:endParaRPr lang="en-US" sz="1600" b="1" dirty="0">
              <a:solidFill>
                <a:schemeClr val="accent1"/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  <a:p>
            <a:pPr marL="180975" indent="-180975">
              <a:spcBef>
                <a:spcPts val="738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de-CH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Ideen dingfest machen</a:t>
            </a:r>
          </a:p>
          <a:p>
            <a:pPr marL="180975" indent="-180975">
              <a:spcBef>
                <a:spcPts val="738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de-CH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Schnell kritische Hypothesen testen</a:t>
            </a:r>
          </a:p>
          <a:p>
            <a:pPr marL="180975" indent="-180975">
              <a:spcBef>
                <a:spcPts val="738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de-CH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Kompetente Partner, geteilte Lasten</a:t>
            </a:r>
          </a:p>
          <a:p>
            <a:pPr marL="180975" indent="-180975" algn="l">
              <a:spcBef>
                <a:spcPts val="738"/>
              </a:spcBef>
              <a:buSzPct val="100000"/>
              <a:buFont typeface="Arial" panose="020B0604020202020204" pitchFamily="34" charset="0"/>
              <a:buChar char="•"/>
              <a:defRPr/>
            </a:pPr>
            <a:endParaRPr lang="de-CH" sz="1600" dirty="0">
              <a:solidFill>
                <a:schemeClr val="tx1"/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37" name="Gleichschenkliges Dreieck 36">
            <a:extLst>
              <a:ext uri="{FF2B5EF4-FFF2-40B4-BE49-F238E27FC236}">
                <a16:creationId xmlns:a16="http://schemas.microsoft.com/office/drawing/2014/main" id="{338EC089-451E-49C0-BB25-0D4FDDFD8FBE}"/>
              </a:ext>
            </a:extLst>
          </p:cNvPr>
          <p:cNvSpPr/>
          <p:nvPr/>
        </p:nvSpPr>
        <p:spPr bwMode="auto">
          <a:xfrm rot="10800000">
            <a:off x="7941057" y="3234724"/>
            <a:ext cx="3348000" cy="265722"/>
          </a:xfrm>
          <a:prstGeom prst="triangle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1723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04BB45E5-941E-4815-9DF7-E797361B1FEE}"/>
              </a:ext>
            </a:extLst>
          </p:cNvPr>
          <p:cNvSpPr txBox="1"/>
          <p:nvPr/>
        </p:nvSpPr>
        <p:spPr>
          <a:xfrm>
            <a:off x="4381757" y="3758561"/>
            <a:ext cx="3348000" cy="2482128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0" tIns="0" rIns="0" bIns="0" rtlCol="0" anchor="t">
            <a:noAutofit/>
          </a:bodyPr>
          <a:lstStyle/>
          <a:p>
            <a:pPr algn="l">
              <a:spcBef>
                <a:spcPts val="738"/>
              </a:spcBef>
              <a:buClr>
                <a:srgbClr val="BCD232"/>
              </a:buClr>
              <a:buSzPct val="100000"/>
              <a:defRPr/>
            </a:pPr>
            <a:r>
              <a:rPr lang="de-CH" sz="2000" b="1" dirty="0">
                <a:solidFill>
                  <a:schemeClr val="accent1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Inspirieren</a:t>
            </a:r>
            <a:endParaRPr lang="en-US" sz="1600" b="1" dirty="0">
              <a:solidFill>
                <a:schemeClr val="accent1"/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  <a:p>
            <a:pPr marL="180975" indent="-180975">
              <a:spcBef>
                <a:spcPts val="738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de-CH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Von den Besten lernen</a:t>
            </a:r>
          </a:p>
          <a:p>
            <a:pPr marL="180975" indent="-180975">
              <a:spcBef>
                <a:spcPts val="738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de-CH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Über den Tellerrand schauen dürfen</a:t>
            </a:r>
          </a:p>
          <a:p>
            <a:pPr marL="180975" indent="-180975">
              <a:spcBef>
                <a:spcPts val="738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de-CH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Ko-Kreation</a:t>
            </a:r>
            <a:endParaRPr lang="de-CH" sz="1600" dirty="0">
              <a:solidFill>
                <a:schemeClr val="tx1"/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41" name="Gleichschenkliges Dreieck 40">
            <a:extLst>
              <a:ext uri="{FF2B5EF4-FFF2-40B4-BE49-F238E27FC236}">
                <a16:creationId xmlns:a16="http://schemas.microsoft.com/office/drawing/2014/main" id="{8B9BE60B-DA0B-42CA-9AA9-0C61CA72210E}"/>
              </a:ext>
            </a:extLst>
          </p:cNvPr>
          <p:cNvSpPr/>
          <p:nvPr/>
        </p:nvSpPr>
        <p:spPr bwMode="auto">
          <a:xfrm rot="10800000">
            <a:off x="4381757" y="3234724"/>
            <a:ext cx="3348000" cy="265722"/>
          </a:xfrm>
          <a:prstGeom prst="triangle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1723" dirty="0" err="1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774505C8-4E9E-455D-9B31-F719A84472B7}"/>
              </a:ext>
            </a:extLst>
          </p:cNvPr>
          <p:cNvCxnSpPr>
            <a:cxnSpLocks/>
          </p:cNvCxnSpPr>
          <p:nvPr/>
        </p:nvCxnSpPr>
        <p:spPr bwMode="auto">
          <a:xfrm>
            <a:off x="7838553" y="1370693"/>
            <a:ext cx="0" cy="4869996"/>
          </a:xfrm>
          <a:prstGeom prst="line">
            <a:avLst/>
          </a:prstGeom>
          <a:solidFill>
            <a:schemeClr val="hlink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2" name="Grafik 51">
            <a:extLst>
              <a:ext uri="{FF2B5EF4-FFF2-40B4-BE49-F238E27FC236}">
                <a16:creationId xmlns:a16="http://schemas.microsoft.com/office/drawing/2014/main" id="{9143091F-C04B-429F-9BD5-73FC63BE4143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1068" y="1369931"/>
            <a:ext cx="3348000" cy="1532839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9696CA00-26C4-4698-96DA-436F0959060E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97323" y="1369931"/>
            <a:ext cx="3348000" cy="1532839"/>
          </a:xfrm>
          <a:prstGeom prst="rect">
            <a:avLst/>
          </a:prstGeom>
        </p:spPr>
      </p:pic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5A251AAA-7164-F54B-BC84-635DB2832E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67E504EF-E9E2-A44C-AE70-08782C9CD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F070CF3-640D-9443-A8FC-1A88EF9065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5</a:t>
            </a:fld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16ECDE0-D159-534D-90A7-69FAF9C769A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879031" y="853681"/>
            <a:ext cx="3415034" cy="221255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FA76373-F3ED-9E4B-A426-3C51502E65B3}"/>
              </a:ext>
            </a:extLst>
          </p:cNvPr>
          <p:cNvSpPr txBox="1"/>
          <p:nvPr/>
        </p:nvSpPr>
        <p:spPr>
          <a:xfrm>
            <a:off x="8392639" y="286238"/>
            <a:ext cx="24448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>
                <a:solidFill>
                  <a:srgbClr val="FF0000"/>
                </a:solidFill>
                <a:latin typeface="Chalkduster" panose="03050602040202020205" pitchFamily="66" charset="77"/>
              </a:rPr>
              <a:t>Seit</a:t>
            </a:r>
            <a:r>
              <a:rPr lang="en-US" dirty="0">
                <a:solidFill>
                  <a:srgbClr val="FF0000"/>
                </a:solidFill>
                <a:latin typeface="Chalkduster" panose="03050602040202020205" pitchFamily="66" charset="77"/>
              </a:rPr>
              <a:t> 27. April in </a:t>
            </a:r>
          </a:p>
          <a:p>
            <a:r>
              <a:rPr lang="en-US" dirty="0" err="1">
                <a:solidFill>
                  <a:srgbClr val="FF0000"/>
                </a:solidFill>
                <a:latin typeface="Chalkduster" panose="03050602040202020205" pitchFamily="66" charset="77"/>
              </a:rPr>
              <a:t>Herzogenbuchsee</a:t>
            </a:r>
            <a:r>
              <a:rPr lang="en-US" dirty="0">
                <a:solidFill>
                  <a:srgbClr val="FF0000"/>
                </a:solidFill>
                <a:latin typeface="Chalkduster" panose="03050602040202020205" pitchFamily="66" charset="77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8117907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7F81478-3A1E-F646-8B48-B0496EC7F8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3. Mai 2019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D96C56C-E5E4-3949-9BFC-28F66F133C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nolab smart mobility - Marius Schmidt | Andi Kronawit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4A9497-F754-CE4D-969D-FC86AE0ED9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422B48-A01B-014E-891E-B9F4D62A9E6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ight Arrow 4">
            <a:extLst>
              <a:ext uri="{FF2B5EF4-FFF2-40B4-BE49-F238E27FC236}">
                <a16:creationId xmlns:a16="http://schemas.microsoft.com/office/drawing/2014/main" id="{CF700FD4-EC01-3F42-8DF4-3CE26AAE7150}"/>
              </a:ext>
            </a:extLst>
          </p:cNvPr>
          <p:cNvSpPr/>
          <p:nvPr/>
        </p:nvSpPr>
        <p:spPr>
          <a:xfrm rot="21051530">
            <a:off x="1345095" y="738092"/>
            <a:ext cx="9501809" cy="1595371"/>
          </a:xfrm>
          <a:prstGeom prst="rightArrow">
            <a:avLst>
              <a:gd name="adj1" fmla="val 74762"/>
              <a:gd name="adj2" fmla="val 5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FF28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tform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28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ight Arrow 5">
            <a:extLst>
              <a:ext uri="{FF2B5EF4-FFF2-40B4-BE49-F238E27FC236}">
                <a16:creationId xmlns:a16="http://schemas.microsoft.com/office/drawing/2014/main" id="{EB2178F1-A400-C843-9FD9-A0AC262D8D52}"/>
              </a:ext>
            </a:extLst>
          </p:cNvPr>
          <p:cNvSpPr/>
          <p:nvPr/>
        </p:nvSpPr>
        <p:spPr>
          <a:xfrm rot="21051530">
            <a:off x="1344992" y="2475041"/>
            <a:ext cx="9501809" cy="1595371"/>
          </a:xfrm>
          <a:prstGeom prst="rightArrow">
            <a:avLst>
              <a:gd name="adj1" fmla="val 74762"/>
              <a:gd name="adj2" fmla="val 5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xt generation automatic driv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ight Arrow 6">
            <a:extLst>
              <a:ext uri="{FF2B5EF4-FFF2-40B4-BE49-F238E27FC236}">
                <a16:creationId xmlns:a16="http://schemas.microsoft.com/office/drawing/2014/main" id="{FDB1236A-CA79-A847-88B0-1A087B930D82}"/>
              </a:ext>
            </a:extLst>
          </p:cNvPr>
          <p:cNvSpPr/>
          <p:nvPr/>
        </p:nvSpPr>
        <p:spPr>
          <a:xfrm rot="21056457">
            <a:off x="1345044" y="4205449"/>
            <a:ext cx="9501809" cy="1595371"/>
          </a:xfrm>
          <a:prstGeom prst="rightArrow">
            <a:avLst>
              <a:gd name="adj1" fmla="val 74762"/>
              <a:gd name="adj2" fmla="val 5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botic for mobility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B70516-26D1-094E-B6F0-67E49ADAEBCF}"/>
              </a:ext>
            </a:extLst>
          </p:cNvPr>
          <p:cNvSpPr txBox="1"/>
          <p:nvPr/>
        </p:nvSpPr>
        <p:spPr>
          <a:xfrm>
            <a:off x="417443" y="278296"/>
            <a:ext cx="205304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" pitchFamily="2" charset="77"/>
                <a:ea typeface="+mn-ea"/>
                <a:cs typeface="+mn-cs"/>
              </a:rPr>
              <a:t>2019</a:t>
            </a:r>
          </a:p>
        </p:txBody>
      </p:sp>
    </p:spTree>
    <p:extLst>
      <p:ext uri="{BB962C8B-B14F-4D97-AF65-F5344CB8AC3E}">
        <p14:creationId xmlns:p14="http://schemas.microsoft.com/office/powerpoint/2010/main" val="15209149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0016AF-D2AE-3F4A-918B-98B43A48B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  <a:latin typeface="Bradley Hand" pitchFamily="2" charset="77"/>
                <a:hlinkClick r:id="rId2"/>
              </a:rPr>
              <a:t>Mobility as a Service</a:t>
            </a:r>
            <a:endParaRPr lang="en-US" dirty="0">
              <a:solidFill>
                <a:schemeClr val="bg1"/>
              </a:solidFill>
              <a:latin typeface="Bradley Hand" pitchFamily="2" charset="77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E33F24-780A-0F46-9C8A-DF73AAB40D9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r>
              <a:rPr lang="en-US" dirty="0" err="1">
                <a:solidFill>
                  <a:schemeClr val="bg1"/>
                </a:solidFill>
                <a:latin typeface="Chalkduster" panose="03050602040202020205" pitchFamily="66" charset="77"/>
              </a:rPr>
              <a:t>Wer</a:t>
            </a:r>
            <a:r>
              <a:rPr lang="en-US" dirty="0">
                <a:solidFill>
                  <a:schemeClr val="bg1"/>
                </a:solidFill>
                <a:latin typeface="Chalkduster" panose="03050602040202020205" pitchFamily="66" charset="77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Chalkduster" panose="03050602040202020205" pitchFamily="66" charset="77"/>
              </a:rPr>
              <a:t>braucht</a:t>
            </a:r>
            <a:r>
              <a:rPr lang="en-US" dirty="0">
                <a:solidFill>
                  <a:schemeClr val="bg1"/>
                </a:solidFill>
                <a:latin typeface="Chalkduster" panose="03050602040202020205" pitchFamily="66" charset="77"/>
              </a:rPr>
              <a:t> das und </a:t>
            </a:r>
            <a:r>
              <a:rPr lang="en-US" dirty="0" err="1">
                <a:solidFill>
                  <a:schemeClr val="bg1"/>
                </a:solidFill>
                <a:latin typeface="Chalkduster" panose="03050602040202020205" pitchFamily="66" charset="77"/>
              </a:rPr>
              <a:t>warum</a:t>
            </a:r>
            <a:r>
              <a:rPr lang="en-US" dirty="0">
                <a:solidFill>
                  <a:schemeClr val="bg1"/>
                </a:solidFill>
                <a:latin typeface="Chalkduster" panose="03050602040202020205" pitchFamily="66" charset="77"/>
              </a:rPr>
              <a:t>?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862EA4-66FD-4A45-9523-74D54A1331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3. Mai 2019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897702-9AAA-5E4D-A4CB-2AFC78E1C7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nolab smart mobility - Marius Schmidt | Andi Kronawit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8255FE-E4B1-8A44-944E-99A9F0E35F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422B48-A01B-014E-891E-B9F4D62A9E6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9768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139345-1F0B-5846-A7BE-6EA96F8BBD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 err="1"/>
              <a:t>Runde</a:t>
            </a:r>
            <a:r>
              <a:rPr lang="en-US" sz="3600" dirty="0"/>
              <a:t> 1: </a:t>
            </a:r>
            <a:br>
              <a:rPr lang="en-US" sz="3600" dirty="0"/>
            </a:br>
            <a:r>
              <a:rPr lang="en-US" sz="3600" dirty="0" err="1"/>
              <a:t>Mobilitätsprobleme</a:t>
            </a:r>
            <a:r>
              <a:rPr lang="en-US" sz="3600" dirty="0"/>
              <a:t>: </a:t>
            </a:r>
            <a:r>
              <a:rPr lang="en-US" sz="3600" dirty="0" err="1"/>
              <a:t>welche</a:t>
            </a:r>
            <a:r>
              <a:rPr lang="en-US" sz="3600" dirty="0"/>
              <a:t> / </a:t>
            </a:r>
            <a:r>
              <a:rPr lang="en-US" sz="3600" dirty="0" err="1"/>
              <a:t>warum</a:t>
            </a:r>
            <a:r>
              <a:rPr lang="en-US" sz="3600" dirty="0"/>
              <a:t> / </a:t>
            </a:r>
            <a:r>
              <a:rPr lang="en-US" sz="3600" dirty="0" err="1"/>
              <a:t>wie</a:t>
            </a:r>
            <a:r>
              <a:rPr lang="en-US" sz="3600" dirty="0"/>
              <a:t>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013769-8D30-9141-BB0B-E624CF181A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64161"/>
            <a:ext cx="6421507" cy="4351338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5 Gruppen</a:t>
            </a:r>
          </a:p>
          <a:p>
            <a:pPr lvl="1"/>
            <a:r>
              <a:rPr lang="en-US" dirty="0" err="1"/>
              <a:t>Sicht</a:t>
            </a:r>
            <a:r>
              <a:rPr lang="en-US" dirty="0"/>
              <a:t> </a:t>
            </a:r>
            <a:r>
              <a:rPr lang="en-US" dirty="0" err="1"/>
              <a:t>Nutzer</a:t>
            </a:r>
            <a:endParaRPr lang="en-US" dirty="0"/>
          </a:p>
          <a:p>
            <a:pPr lvl="1"/>
            <a:r>
              <a:rPr lang="en-US" dirty="0" err="1"/>
              <a:t>Sicht</a:t>
            </a:r>
            <a:r>
              <a:rPr lang="en-US" dirty="0"/>
              <a:t> Gesellschaft</a:t>
            </a:r>
          </a:p>
          <a:p>
            <a:pPr lvl="1"/>
            <a:r>
              <a:rPr lang="en-US" dirty="0" err="1"/>
              <a:t>Sicht</a:t>
            </a:r>
            <a:r>
              <a:rPr lang="en-US" dirty="0"/>
              <a:t> Umwelt</a:t>
            </a:r>
          </a:p>
          <a:p>
            <a:pPr lvl="1"/>
            <a:r>
              <a:rPr lang="en-US" dirty="0" err="1"/>
              <a:t>Sicht</a:t>
            </a:r>
            <a:r>
              <a:rPr lang="en-US" dirty="0"/>
              <a:t> </a:t>
            </a:r>
            <a:r>
              <a:rPr lang="en-US" dirty="0" err="1"/>
              <a:t>Wirtschaft</a:t>
            </a:r>
            <a:endParaRPr lang="en-US" dirty="0"/>
          </a:p>
          <a:p>
            <a:pPr lvl="1"/>
            <a:r>
              <a:rPr lang="en-US" dirty="0"/>
              <a:t>…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de-CH" dirty="0">
                <a:solidFill>
                  <a:srgbClr val="FF2800"/>
                </a:solidFill>
              </a:rPr>
              <a:t>Was sind die Bedürfnisse? </a:t>
            </a:r>
          </a:p>
          <a:p>
            <a:pPr lvl="1"/>
            <a:r>
              <a:rPr lang="de-CH" dirty="0">
                <a:solidFill>
                  <a:srgbClr val="FF2800"/>
                </a:solidFill>
              </a:rPr>
              <a:t>Wie bewege ich mich heute und warum?</a:t>
            </a:r>
          </a:p>
          <a:p>
            <a:pPr lvl="1"/>
            <a:r>
              <a:rPr lang="de-CH" dirty="0">
                <a:solidFill>
                  <a:srgbClr val="FF2800"/>
                </a:solidFill>
              </a:rPr>
              <a:t>Wie und warum wähle ich ein Verkehrsmittel?</a:t>
            </a:r>
          </a:p>
          <a:p>
            <a:r>
              <a:rPr lang="de-CH" dirty="0">
                <a:solidFill>
                  <a:srgbClr val="FF2800"/>
                </a:solidFill>
              </a:rPr>
              <a:t>Warum ist das Auto so attraktiv?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Brainstorming auf </a:t>
            </a:r>
            <a:r>
              <a:rPr lang="en-US" dirty="0" err="1"/>
              <a:t>Mindmap</a:t>
            </a:r>
            <a:endParaRPr lang="en-US" dirty="0"/>
          </a:p>
          <a:p>
            <a:endParaRPr lang="en-US" dirty="0"/>
          </a:p>
          <a:p>
            <a:r>
              <a:rPr lang="en-US" dirty="0"/>
              <a:t>20 mi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E93BCB-1C23-5443-96AF-95AE4E74E3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5E350B-E63E-834D-AC64-2EB578685B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B1B34A-55F4-6A44-A376-F1C90F4A76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8</a:t>
            </a:fld>
            <a:endParaRPr lang="en-US"/>
          </a:p>
        </p:txBody>
      </p:sp>
      <p:pic>
        <p:nvPicPr>
          <p:cNvPr id="23558" name="Picture 6" descr="Bildergebnis für brainstorming">
            <a:extLst>
              <a:ext uri="{FF2B5EF4-FFF2-40B4-BE49-F238E27FC236}">
                <a16:creationId xmlns:a16="http://schemas.microsoft.com/office/drawing/2014/main" id="{F2D57EA4-B3D8-EE4A-91E4-6E40B095FA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59707" y="2216561"/>
            <a:ext cx="4808926" cy="3211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051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D75CB74-5905-D749-8345-42A54D40C0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3. Mai 2019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5B4425-2BDA-0641-BFCA-28A8F14FBE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Marius Schmidt | Andi Kronawit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824044-3B62-F54C-B4E5-1A497B7CBB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9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E44BF7F-540B-B745-BCCF-DDBF5614EA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809" b="25238"/>
          <a:stretch/>
        </p:blipFill>
        <p:spPr>
          <a:xfrm>
            <a:off x="2628383" y="9341"/>
            <a:ext cx="6935234" cy="634700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035D62A-6314-7647-9772-046D69C8A489}"/>
              </a:ext>
            </a:extLst>
          </p:cNvPr>
          <p:cNvSpPr txBox="1"/>
          <p:nvPr/>
        </p:nvSpPr>
        <p:spPr>
          <a:xfrm>
            <a:off x="718457" y="718457"/>
            <a:ext cx="10775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A</a:t>
            </a:r>
          </a:p>
        </p:txBody>
      </p:sp>
    </p:spTree>
    <p:extLst>
      <p:ext uri="{BB962C8B-B14F-4D97-AF65-F5344CB8AC3E}">
        <p14:creationId xmlns:p14="http://schemas.microsoft.com/office/powerpoint/2010/main" val="1164678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oGm8FrSgmJKzaGCSss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x_TlLVT2mYD1b_QnQk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0Kp1YTRROnuHGO5.Fn8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664</TotalTime>
  <Words>906</Words>
  <Application>Microsoft Macintosh PowerPoint</Application>
  <PresentationFormat>Widescreen</PresentationFormat>
  <Paragraphs>234</Paragraphs>
  <Slides>32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0" baseType="lpstr">
      <vt:lpstr>Malgun Gothic</vt:lpstr>
      <vt:lpstr>Arial</vt:lpstr>
      <vt:lpstr>Bradley Hand</vt:lpstr>
      <vt:lpstr>Calibri</vt:lpstr>
      <vt:lpstr>Calibri Light</vt:lpstr>
      <vt:lpstr>Chalkduster</vt:lpstr>
      <vt:lpstr>Office Theme</vt:lpstr>
      <vt:lpstr>think-cell Folie</vt:lpstr>
      <vt:lpstr>innolab smart mobility Gemeinsam entwickeln wir die Mobilität der Schweiz</vt:lpstr>
      <vt:lpstr>PowerPoint Presentation</vt:lpstr>
      <vt:lpstr>Warum ein innolab smart mobility?</vt:lpstr>
      <vt:lpstr>Mission</vt:lpstr>
      <vt:lpstr>Vision</vt:lpstr>
      <vt:lpstr>PowerPoint Presentation</vt:lpstr>
      <vt:lpstr>Mobility as a Service</vt:lpstr>
      <vt:lpstr>Runde 1:  Mobilitätsprobleme: welche / warum / wie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ie Idee hinter MobiCo</vt:lpstr>
      <vt:lpstr>Runde 2:  Traumwelt: unser Alltag in der Zukunf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unde 3:  Back to reality: Ideen für “demnächst”</vt:lpstr>
      <vt:lpstr>Pitch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</vt:lpstr>
      <vt:lpstr>PowerPoint Presentation</vt:lpstr>
      <vt:lpstr>PowerPoint Presentation</vt:lpstr>
      <vt:lpstr>Weitere Veranstaltunge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nolab smart mobility Gemeinsam entwickeln wir die Mobilität der Schweiz</dc:title>
  <dc:creator>Andreas Kronawitter</dc:creator>
  <cp:lastModifiedBy>Andreas Kronawitter</cp:lastModifiedBy>
  <cp:revision>29</cp:revision>
  <dcterms:created xsi:type="dcterms:W3CDTF">2019-05-01T13:20:27Z</dcterms:created>
  <dcterms:modified xsi:type="dcterms:W3CDTF">2019-06-10T20:33:05Z</dcterms:modified>
</cp:coreProperties>
</file>